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ink/ink41.xml" ContentType="application/inkml+xml"/>
  <Override PartName="/ppt/ink/ink42.xml" ContentType="application/inkml+xml"/>
  <Override PartName="/ppt/ink/ink43.xml" ContentType="application/inkml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ink/ink62.xml" ContentType="application/inkml+xml"/>
  <Override PartName="/ppt/ink/ink63.xml" ContentType="application/inkml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8"/>
  </p:notesMasterIdLst>
  <p:sldIdLst>
    <p:sldId id="883" r:id="rId2"/>
    <p:sldId id="902" r:id="rId3"/>
    <p:sldId id="901" r:id="rId4"/>
    <p:sldId id="884" r:id="rId5"/>
    <p:sldId id="887" r:id="rId6"/>
    <p:sldId id="888" r:id="rId7"/>
    <p:sldId id="889" r:id="rId8"/>
    <p:sldId id="890" r:id="rId9"/>
    <p:sldId id="897" r:id="rId10"/>
    <p:sldId id="898" r:id="rId11"/>
    <p:sldId id="899" r:id="rId12"/>
    <p:sldId id="900" r:id="rId13"/>
    <p:sldId id="891" r:id="rId14"/>
    <p:sldId id="892" r:id="rId15"/>
    <p:sldId id="893" r:id="rId16"/>
    <p:sldId id="894" r:id="rId17"/>
    <p:sldId id="895" r:id="rId18"/>
    <p:sldId id="907" r:id="rId19"/>
    <p:sldId id="896" r:id="rId20"/>
    <p:sldId id="903" r:id="rId21"/>
    <p:sldId id="904" r:id="rId22"/>
    <p:sldId id="905" r:id="rId23"/>
    <p:sldId id="906" r:id="rId24"/>
    <p:sldId id="908" r:id="rId25"/>
    <p:sldId id="909" r:id="rId26"/>
    <p:sldId id="910" r:id="rId27"/>
    <p:sldId id="911" r:id="rId28"/>
    <p:sldId id="912" r:id="rId29"/>
    <p:sldId id="913" r:id="rId30"/>
    <p:sldId id="914" r:id="rId31"/>
    <p:sldId id="916" r:id="rId32"/>
    <p:sldId id="917" r:id="rId33"/>
    <p:sldId id="918" r:id="rId34"/>
    <p:sldId id="920" r:id="rId35"/>
    <p:sldId id="919" r:id="rId36"/>
    <p:sldId id="921" r:id="rId37"/>
    <p:sldId id="922" r:id="rId38"/>
    <p:sldId id="923" r:id="rId39"/>
    <p:sldId id="924" r:id="rId40"/>
    <p:sldId id="925" r:id="rId41"/>
    <p:sldId id="926" r:id="rId42"/>
    <p:sldId id="927" r:id="rId43"/>
    <p:sldId id="928" r:id="rId44"/>
    <p:sldId id="975" r:id="rId45"/>
    <p:sldId id="974" r:id="rId46"/>
    <p:sldId id="915" r:id="rId47"/>
    <p:sldId id="929" r:id="rId48"/>
    <p:sldId id="930" r:id="rId49"/>
    <p:sldId id="931" r:id="rId50"/>
    <p:sldId id="932" r:id="rId51"/>
    <p:sldId id="933" r:id="rId52"/>
    <p:sldId id="934" r:id="rId53"/>
    <p:sldId id="935" r:id="rId54"/>
    <p:sldId id="936" r:id="rId55"/>
    <p:sldId id="937" r:id="rId56"/>
    <p:sldId id="979" r:id="rId57"/>
    <p:sldId id="976" r:id="rId58"/>
    <p:sldId id="977" r:id="rId59"/>
    <p:sldId id="978" r:id="rId60"/>
    <p:sldId id="980" r:id="rId61"/>
    <p:sldId id="938" r:id="rId62"/>
    <p:sldId id="939" r:id="rId63"/>
    <p:sldId id="940" r:id="rId64"/>
    <p:sldId id="941" r:id="rId65"/>
    <p:sldId id="942" r:id="rId66"/>
    <p:sldId id="943" r:id="rId67"/>
    <p:sldId id="944" r:id="rId68"/>
    <p:sldId id="945" r:id="rId69"/>
    <p:sldId id="946" r:id="rId70"/>
    <p:sldId id="947" r:id="rId71"/>
    <p:sldId id="948" r:id="rId72"/>
    <p:sldId id="949" r:id="rId73"/>
    <p:sldId id="950" r:id="rId74"/>
    <p:sldId id="951" r:id="rId75"/>
    <p:sldId id="952" r:id="rId76"/>
    <p:sldId id="953" r:id="rId77"/>
    <p:sldId id="954" r:id="rId78"/>
    <p:sldId id="955" r:id="rId79"/>
    <p:sldId id="958" r:id="rId80"/>
    <p:sldId id="956" r:id="rId81"/>
    <p:sldId id="957" r:id="rId82"/>
    <p:sldId id="959" r:id="rId83"/>
    <p:sldId id="960" r:id="rId84"/>
    <p:sldId id="961" r:id="rId85"/>
    <p:sldId id="963" r:id="rId86"/>
    <p:sldId id="964" r:id="rId87"/>
    <p:sldId id="965" r:id="rId88"/>
    <p:sldId id="966" r:id="rId89"/>
    <p:sldId id="967" r:id="rId90"/>
    <p:sldId id="968" r:id="rId91"/>
    <p:sldId id="969" r:id="rId92"/>
    <p:sldId id="970" r:id="rId93"/>
    <p:sldId id="962" r:id="rId94"/>
    <p:sldId id="971" r:id="rId95"/>
    <p:sldId id="972" r:id="rId96"/>
    <p:sldId id="973" r:id="rId97"/>
  </p:sldIdLst>
  <p:sldSz cx="12192000" cy="6858000"/>
  <p:notesSz cx="6797675" cy="9926638"/>
  <p:custDataLst>
    <p:tags r:id="rId99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F39C12"/>
    <a:srgbClr val="FFC000"/>
    <a:srgbClr val="2980B9"/>
    <a:srgbClr val="B9DAFF"/>
    <a:srgbClr val="003876"/>
    <a:srgbClr val="C03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9" autoAdjust="0"/>
    <p:restoredTop sz="75305" autoAdjust="0"/>
  </p:normalViewPr>
  <p:slideViewPr>
    <p:cSldViewPr snapToGrid="0">
      <p:cViewPr varScale="1">
        <p:scale>
          <a:sx n="94" d="100"/>
          <a:sy n="94" d="100"/>
        </p:scale>
        <p:origin x="145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tags" Target="tags/tag1.xml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7:18.8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4'23,"-1"1,-1 1,-1 0,-2 1,11 43,-8-14,8 97,-16-84,-11 120,-23 62,24-223,2-36,2-43,2 24,-2-1,2 1,1-1,1 1,1 0,1-1,16-50,-17 73,5-17,2 0,13-23,-18 39,-1 0,1 1,1-1,-1 1,1 0,0 0,0 1,1 0,0 0,7-4,21-8,0 1,2 2,54-13,-4 1,-49 6,3 0,-39 19,0 0,0 1,0 0,0-1,1 1,-1 0,0 0,0 0,0 0,0 1,1-1,-1 0,0 1,0 0,0-1,0 1,0 0,2 2,9 6,-2 1,1 0,-1 1,0 0,-1 1,-1 0,0 1,0 0,-1 0,7 18,-10-16,-1 1,-1 0,0 0,-1 0,0 0,-2 22,3 16,5 38,-4-5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1.2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37,'4'0,"5"0,8-4,6-1,3 0,4 1,1 1,4 2,-2 0,-1 0,-3 1,-3 0,-1 1,-1-1,-2 0,-3-4,-2-1,-4 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1.8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523,"0"-50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3.61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86 48,'-25'-1,"0"-2,0-1,-41-11,41 8,-1 1,0 2,-31-2,43 5,1 1,-1 1,1 0,-1 1,1 0,0 1,0 0,0 1,0 1,1 0,-1 1,1 0,1 1,-1 0,1 1,0 0,1 1,-16 16,10-6,0 0,2 0,0 1,1 1,1 0,1 1,1 0,1 1,-11 42,12-29,1-1,2 1,2 0,1 0,2 1,5 35,-4-60,1 0,1 0,0 0,1-1,0 1,1-1,0 0,0-1,9 13,7 6,43 45,10 14,-61-69,1-2,1 1,0-2,2 0,-1-1,2-1,0-1,1 0,0-1,1-1,41 16,-38-18,1-1,45 8,-57-14,1-1,0 0,0-1,0 0,-1-1,1 0,17-5,-24 4,-1 0,0 0,1-1,-1 0,0 0,0 0,-1 0,1-1,-1 0,1 0,-1 0,0-1,-1 0,1 1,-1-1,0 0,3-7,5-12,-2 1,12-43,-11 34,-6 20,5-15,0-1,-2 0,-1 0,-2 0,2-32,-5 27,-2 1,-2-1,0 0,-2 0,-2 1,-1 0,-1 1,-17-38,22 63,0 0,0 1,-1-1,0 1,0 0,0 0,-11-7,-19-20,25 19,0-1,-11-23,3 6,9 1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5.3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11,"2"-1,-1 0,1 0,6 18,2 9,19 117,13 209,-21 156,-19-425,-5 326,-5-360,7-54,0-1,0 1,0 0,-1-1,0 0,-1 1,-4 8,7-14,0 0,0 0,-1 1,1-1,0 0,0 0,0 0,0 0,0 0,-1 0,1 0,0 1,0-1,0 0,0 0,-1 0,1 0,0 0,0 0,0 0,-1 0,1 0,0 0,0 0,0 0,-1 0,1 0,0 0,0 0,0 0,-1 0,1 0,0 0,0-1,0 1,0 0,-1 0,1 0,0 0,0 0,0 0,0-1,0 1,0 0,-1 0,1 0,0 0,0-1,0 1,0 0,0 0,0 0,0 0,0-1,0 1,0 0,-4-14,-3-31,3 0,2-1,4-45,-1 17,1 14,2-1,4 2,1-1,29-93,-2 44,75-154,-75 181,-13 30,40-69,-55 109,1 0,0 1,1 0,1 0,0 1,0 1,0 0,1 0,1 1,0 1,0 0,24-9,-32 15,-1 0,1 1,0-1,0 1,0 0,0 0,0 1,0-1,-1 1,1 0,0 0,0 1,-1 0,1 0,-1 0,0 0,1 0,-1 1,0 0,0 0,-1 0,5 4,8 9,0 1,-1 1,17 26,-28-38,12 19,-1 1,-1 0,-1 0,-2 1,12 41,26 147,-34-139,-2-13,4 10,-3 1,-3 0,1 106,-13-158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6.0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48,'4'-4,"5"-1,5-4,8 0,4 1,9 3,6 1,4 2,6 1,-2 1,-5 0,-7 0,-9 1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6.5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0,9 0,12 0,10 0,5 0,3 0,-3 0,-5 0,-2 0,-4 0,-3 0,-7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7.4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6,"1"0,0 0,1 0,-1 0,1 0,4 8,3 13,76 329,-34 10,-49-194,-2-17,8-100,-3-33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8.7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19 1,'-5'1,"-1"1,1 0,0 0,0 0,0 0,1 1,-1 0,1 0,-6 4,-2 2,-34 22,1 3,2 1,2 3,1 1,-39 49,71-76,-1 0,2 1,0 1,0-1,1 1,-8 29,14-41,0 1,-1 0,1 0,0 0,0 0,1 0,-1 0,1 0,-1 0,1-1,0 1,0 0,0 0,0-1,1 1,-1-1,1 1,0-1,-1 0,1 1,0-1,4 3,6 6,0-1,1-1,14 8,-11-6,18 9,55 25,-77-39,26 15,0 2,53 42,-15-10,149 89,-194-122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9.2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4,'0'-4,"15"-5,17-5,11 1,13-3,9 3,-3 2,-4 5,-9 1,-4 4,-2 0,-5 1,-5 1,-4-1,-3 1,2-1,-5 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19.92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1028,"0"-1006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7:19.66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94,'4'0,"1"-4,4-1,7-4,10-4,8 0,1-1,3 1,-1 3,1 4,1 2,-2 2,-3 1,-3 2,-4-1,-6 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20.58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1,"0"-1,0 0,0 1,-1 0,1-1,0 1,0 0,-1 0,1 0,-1 0,1 1,-1-1,1 0,-1 0,0 1,1-1,-1 1,0-1,1 3,20 36,-20-35,6 13,-2-1,0 1,-1 0,-1 0,-1 0,2 23,-3 117,-3-102,3 107,35 254,-19-332,-14-65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21.6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71,'3'0,"6"-4,5-1,4 0,2-3,3 0,4-3,2 1,-1 2,0 2,-2 3,-1 1,-1 1,-1 1,-5 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22.5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84,'4'0,"5"0,5 0,3 0,4 0,-3-3,0-3,1-2,1-1,1-3,0 2,1 1,1 3,0 2,0-2,-1 0,-3 1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23.0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13,0 15,0 9,0 6,0 3,0-3,0-7,0-1,0-4,4-4,1-4,-1-6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24.3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72 39,'-42'0,"19"-2,0 2,1 1,-1 0,0 2,0 0,1 2,-36 11,27-2,1 0,-32 22,51-30,1 2,-1 0,2 0,-1 0,1 1,0 1,1-1,-13 21,7 2,1 0,1 0,2 1,-8 48,16-74,-5 28,0 0,3 0,1 1,1-1,2 1,7 54,-3-76,1-1,0 1,1-1,1 0,0-1,0 0,2 0,-1 0,20 20,0 1,-5-4,1 0,1-2,35 29,-51-48,1-1,0 0,1 0,-1-1,1-1,1 0,-1 0,1-1,-1-1,1 0,0 0,0-1,22 0,-15-1,1-1,0 0,-1-2,1 0,-1-2,0 0,0-1,30-12,32-15,-54 23,51-26,-73 32,-1 0,0 0,1-1,-1 0,0 0,-1 0,1 0,-1 0,0-1,0 0,0 1,0-1,2-7,2-8,-1 1,4-27,-2 11,-3 15,10-36,14-108,-28 145,0 1,-1-1,-1 0,0 0,-2 0,0 1,-1-1,-1 1,-14-33,16 44,-82-165,72 149,-1 1,-1 1,0 0,-2 1,-27-25,35 38,-1 0,0 0,0 1,-17-7,6 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0.4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5 1,'1'20,"1"-1,1 0,1 1,8 24,2 10,13 95,11 187,-27 154,-97 831,60-957,11-120,5 281,12-341,-2-168,2 0,4 21,4 43,58 909,-54-824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4.1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07,'127'-32,"-105"27,751-104,8 66,1090 26,-1831 19,56 11,-24-2,576 35,-640-46,0 0,1-1,-1 0,0-1,0 0,0 0,0-1,0 0,11-6,-18 8,0 1,0 0,0-1,0 1,0 0,0-1,0 1,-1 0,1 0,0 0,0 0,0 0,0 0,0 0,0 0,0 0,0 0,0 0,0 1,0-1,0 0,0 1,-1-1,1 1,1 0,-1 0,0 0,0 1,0-1,1 0,-2 1,1 0,0-1,0 1,0-1,-1 1,1 0,0 3,1 6,-1 1,0 0,-2 16,1-19,-3 2266,3-1792,-12-260,1-10,10-122,-12 378,4 70,10-412,-1-121,0-1,0 0,-1 1,0-1,0 0,0 0,0 1,-1-1,0 0,0 0,0-1,0 1,-7 8,5-8,-1 0,-1 0,1 0,-1-1,1 0,-1 0,-1-1,1 0,-13 5,-2-1,0 0,0-2,0 0,-1-2,-32 2,-115-7,121 0,-1198-24,-1 27,444 1,760-2,-210 5,193-1,1 2,-72 18,94-13,11-2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5.4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9 0,'-5'0,"1"0,-1 0,1 1,-1-1,1 1,-1 0,1 0,-1 0,-5 3,7-2,0 0,1 0,-1 1,1-1,-1 0,1 1,0 0,0-1,0 1,0 0,1 0,-1 0,-1 4,-4 13,0 1,1 1,1-1,1 1,1 0,1 0,0 0,2 0,4 33,-3-47,0-1,1 1,0-1,0 0,0 0,1 0,0 0,1 0,7 11,-9-15,0-1,0 1,0-1,1 1,-1-1,1 0,-1 0,1 0,0 0,-1-1,1 1,0-1,0 1,0-1,1 0,-1 0,0-1,0 1,0 0,1-1,-1 0,0 0,1 0,2-1,3 0,0-2,0 1,-1-1,1 0,-1-1,0 0,0 0,0-1,0 0,-1-1,0 1,0-1,0-1,5-7,-8 10,-1 1,0-1,-1-1,1 1,-1 0,0-1,0 1,0-1,-1 0,1 0,-1 1,0-1,-1 0,1 0,-1 0,0 0,0 0,0 0,-1 0,0 0,0 0,0 1,-1-1,1 0,-1 1,0-1,-4-5,4 7,0-1,0 1,0 0,-1-1,0 1,0 0,0 1,0-1,0 0,0 1,-1 0,1-1,-1 1,0 1,1-1,-9-2,-5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6.6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5 7,'-28'-3,"26"2,0 0,0 1,-1-1,1 1,0 0,0-1,-1 1,1 0,0 0,-1 1,1-1,0 0,0 1,0 0,-1-1,1 1,0 0,0 0,0 0,0 0,-3 3,-5 4,0 1,0 1,1 0,0 0,0 1,-11 19,16-23,1 0,-1 0,1 0,0 0,0 1,1-1,0 1,1 0,-1-1,1 1,1 0,0 0,0 8,1-12,0-1,0 1,1 0,-1-1,1 1,-1-1,1 1,0-1,1 0,-1 0,0 0,1 0,0 0,0-1,0 1,0-1,0 0,0 0,6 3,6 3,1-2,1 1,17 3,-13-3,-18-6,0-1,0 1,0 0,-1-1,1 0,0 0,0 1,0-2,0 1,0 0,0-1,0 1,0-1,-1 0,1 0,0 0,-1 0,1 0,0-1,-1 1,1-1,-1 0,0 0,0 0,0 0,0 0,0 0,0 0,0-1,-1 1,1-1,-1 1,1-1,0-3,0 2,-1 0,0 0,1 0,-2 0,1 0,0 0,-1 0,0 0,0 0,0 0,0 0,0 0,-1 0,0 0,0 0,0 0,0 0,-1 0,0 0,0 1,0-1,0 1,0-1,-4-3,-7-6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1.0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9 0,'-6'1,"0"0,0 0,0 1,0-1,0 1,0 1,1-1,-1 1,-10 6,-44 36,55-40,0-1,1 1,-1 1,1-1,0 0,0 1,1 0,0 0,0 0,0 1,1-1,-2 8,-2 10,2-1,-1 30,3-28,-8 36,-4-1,3 0,2 2,-1 79,12 9,1-125,0 0,1 0,16 47,-14-5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7:20.1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16"4,13 1,16 0,12-1,6-1,0-1,0-2,-7 1,-11-1,-9 0,0-1,1 1,5 0,2 0,1 0,-4 0,-1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2.4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23'0,"0"2,0 0,0 2,24 6,-37-7,0 0,0 0,0 1,0 1,-1 0,0 0,0 0,0 1,0 1,-1 0,9 8,-12-8,-1 0,1 0,-1 1,-1 0,1-1,-1 1,0 0,-1 1,0-1,-1 0,2 17,-2-5,0 0,-2-1,-1 1,-3 20,3-32,0-1,-1 0,1-1,-1 1,0 0,-7 9,-7 14,17-30,0 0,0 1,1-1,-1 1,0-1,0 0,0 1,0-1,0 1,0-1,1 0,-1 1,0-1,0 0,0 1,1-1,-1 0,0 1,1-1,-1 0,0 0,1 1,-1-1,0 0,1 0,-1 0,0 1,1-1,-1 0,1 0,-1 0,0 0,1 0,-1 0,1 0,-1 0,0 0,1 0,-1 0,1 0,-1 0,1 0,24 0,-23 0,26 1,50 7,11 2,-64-1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8.18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7 45,'-50'-1,"-58"3,106-2,-1 0,1 1,0-1,0 1,0 0,-1-1,1 1,0 0,0 0,0 1,0-1,1 0,-1 1,0-1,0 1,1-1,-1 1,1 0,-1 0,1-1,0 1,0 0,0 0,0 0,0 1,0-1,1 0,-1 0,0 0,1 1,0-1,0 0,0 0,0 1,0-1,0 0,0 1,1-1,-1 0,1 0,0 0,-1 0,1 1,0-1,0 0,0 0,1 0,-1-1,0 1,1 0,-1 0,1-1,0 1,0-1,3 3,141 93,-101-69,-31-20,0 0,1-1,0 0,31 8,-38-12,1-1,0-1,-1 0,1 0,0 0,0-1,-1-1,1 1,0-2,16-3,-19 2,-1 0,1 0,-1 0,1-1,-1 0,0 0,-1 0,1 0,-1-1,1 0,4-8,-1 2,-2 0,1 1,-2-2,10-22,-15 32,1 0,0-1,-1 1,1 0,-1 0,0 0,1-1,-1 1,0 0,0 0,-1-1,1 1,0 0,-1 0,0-1,1 1,-1 0,0 0,0 0,0 0,0 0,0 0,-3-2,-1-1,0 1,-1-1,1 1,-1 0,-1 1,-6-4,2 1,-35-19,-85-31,108 49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39.6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99 19,'-49'-18,"44"18,-1 0,1 0,-1 0,1 1,-1-1,1 1,-1 1,1-1,0 1,0 0,0 0,0 0,0 1,0 0,0 0,1 0,0 0,-1 1,1 0,1 0,-8 8,8-8,-1 1,1-1,-1 1,1 0,1 0,-1 0,1 0,0 1,0-1,0 1,1-1,0 1,0 0,0-1,1 1,0 0,0-1,0 1,1 0,-1 0,3 6,4 3,1-1,0 0,1 0,1-1,0 0,1 0,0-1,0-1,2 0,-1-1,1 0,1 0,0-2,0 0,22 9,-30-15,-1 0,1 0,0-1,0 0,-1 0,8 0,-12-1,-1 1,1-1,0 0,0 0,0-1,-1 1,1 0,0 0,0 0,0 0,-1-1,1 1,0 0,-1-1,1 1,0 0,0-1,-1 1,1-1,-1 1,1-1,0 0,-1 1,1-1,-1 0,0 1,1-1,-1 0,1 1,-1-1,0 0,0 0,1 1,-1-1,0 0,0 0,0 0,0 1,0-1,0 0,0 0,0 0,0 1,0-1,0 0,-1 0,1 1,0-1,-1 0,1 0,0 1,-1-1,1 0,-2 0,-6-17,-1 1,-18-26,-4-6,4-2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3.4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2'44,"-2"-10,-1 2,29 159,-31-132,-3-10,22 98,-19-129,1 0,1 0,1 0,14 21,56 79,-40-66,33 60,60 83,-113-175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4.5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2'2,"0"1,0 1,0 1,0 0,-1 2,22 10,-5-3,121 53,-15-5,249 57,-153-51,-221-61,1 1,-2 1,23 14,-20-11,39 17,-33-19,0-1,38 7,-42-13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5.5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542'284,"-528"-276,1 0,-1 1,-1 1,0 1,14 13,-22-18,-1-1,1 1,-1 1,0-1,-1 1,1-1,-1 1,-1 0,1 0,-1 1,0-1,-1 0,1 14,-1-3,0 1,-2-1,0 1,-2 0,0-1,-1 0,0 0,-2 0,0 0,-1-1,-17 31,11-27,-1-1,-1 0,-1-1,0 0,-2-1,0-2,0 1,-30 18,38-29,-10 9,22-7,13-2,36 4,1-4,-1-1,73-3,-60-1,-25 0,154-5,-151-1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6.32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641,'224'-11,"-36"0,-122 11,-31 1,-1-1,44-7,-72 6,1-1,-1 0,0 0,1 0,-1 0,0-1,0 0,-1-1,1 1,-1-1,9-8,-3 0,0 0,-1-1,11-17,11-14,59-56,-8 11,-48 46,3 1,1 3,2 0,79-55,-96 79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8.0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39 1,'-9'0,"-1"0,1 0,-1 1,1 1,0 0,-15 4,21-4,0-1,-1 1,1 0,0 0,0 0,0 0,0 1,1-1,-1 1,0-1,1 1,0 0,0 0,0 0,0 0,0 1,1-1,-1 0,-1 7,1-3,1 0,-1 0,1 0,0 0,1 1,0-1,0 0,1 0,0 0,0 1,3 9,-3-13,0-1,1 0,-1 1,1-1,0 0,0 1,0-1,0 0,1 0,-1-1,1 1,0 0,-1-1,1 0,0 0,1 0,-1 0,0 0,0 0,1-1,-1 0,1 1,0-2,3 2,3 0,1-1,0-1,-1 0,1 0,-1-1,1 0,-1-1,1 0,-1-1,0 0,0 0,0-1,0 0,-1-1,1 0,-1-1,-1 0,11-9,-17 14,-1-1,1 0,-1 1,0-1,0 0,0 0,1 1,-2-1,1 0,0 0,0 0,-1 0,1 0,-1-1,1 1,-1 0,0 0,0 0,0 0,0 0,-1-4,0 2,-1 0,1 0,-1 1,0-1,0 0,0 1,0-1,-1 1,1 0,-6-5,-2-2,-2 1,1 0,-1 1,-1 0,-16-8,77 30,-23-9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49.1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515,'1'-6,"0"-1,0 1,1 0,0 0,0 0,0 1,1-1,0 0,0 1,7-9,-8 10,24-34,2 1,1 2,42-40,112-88,-105 96,27-26,208-175,-279 240,-1-1,-2-1,-1-2,-2-1,0-1,-3-1,-1-2,22-43,-38 62,2 1,0 0,16-19,-19 28,0 0,0 1,1-1,1 2,-1 0,1 0,17-9,40-14,-43 20,36-20,-51 24,1-1,-1 0,-1 0,1-1,-1 0,0 0,9-12,-1-3,-2 3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51.4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79,'8'0,"0"1,0 0,0 1,0-1,0 2,-1-1,1 1,8 4,58 37,-24-13,99 58,-149-89,1 1,0-1,0 1,-1-1,1 1,0-1,0 0,-1 0,1 1,0-1,0 0,0 0,-1 0,1 0,0 0,0 0,0 0,-1 0,1 0,0 0,0 0,0-1,-1 1,1 0,0 0,0-1,-1 1,1-1,0 1,0-1,-1 1,1-1,-1 1,1-1,0 1,-1-1,1 0,-1 1,0-1,1 0,-1 0,1 1,-1-1,0 0,1-1,0-4,1-1,-1 0,0 1,-1-12,1 10,-1-62,-3 1,-19-113,17 160,4 19,0 0,1 0,-1 0,0 0,1 1,-1-1,1 0,0 0,0 0,0 0,1 0,-1 0,1 0,0 0,-1 0,1 0,0 0,1 1,-1-1,0 0,1 1,3-5,9-9,1 0,1 1,1 1,25-18,81-42,-99 62,-4 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7:20.9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5,"0"33,0 19,0 10,0 4,0-5,0-4,0-5,0-12,0-10,0-9,0-4,0-2,0-3,0-3,0-1,0-4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28:52.5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1,'125'-11,"-86"6,53 0,-89 5,0 0,-1 0,1 0,-1 0,1 1,0-1,-1 1,1 0,-1 0,1 0,-1 0,1 0,-1 1,0-1,0 1,0-1,0 1,0 0,0 0,0 0,0 0,-1 0,1 0,-1 0,1 1,-1-1,1 3,0 1,-1 0,1 0,-1 0,-1 0,1 0,-1 0,0 0,0 0,-1 0,0 0,-2 7,1-6,-1 1,0-1,0 1,-1-1,0 0,0 0,-1-1,0 1,0-1,0 0,-1 0,-7 5,-15 18,27-28,-1 1,1 0,0-1,0 1,0 0,0 0,0 0,0 0,0 0,1 0,-1 0,1 0,-1 0,1 2,0-3,0-1,0 1,0-1,0 1,0-1,0 1,0-1,1 0,-1 1,0-1,0 1,1-1,-1 1,0-1,0 0,1 1,-1-1,0 0,1 1,-1-1,0 0,1 1,-1-1,1 0,0 1,1-1,-1 0,0 0,0 1,1-1,-1 0,0 0,0 0,1-1,-1 1,0 0,0 0,3-1,4-2,0-1,1 0,-1 0,-1 0,1-1,-1 0,1-1,10-11,51-60,-47 51,-6 10,0 1,2 0,-1 1,2 1,22-12,-7 3,-12 8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33:00.4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70 0,'-4'0,"1"0,0 0,0 0,-1 1,1-1,0 1,0 0,0 0,0 0,0 0,0 0,0 1,0-1,-4 4,5-3,0 0,0 1,1-1,-1 0,1 0,0 1,-1-1,1 1,0 0,0-1,1 1,-1 0,0-1,1 1,0 0,-1 0,2 4,-1-3,0 1,1 0,0 0,0-1,1 1,-1-1,1 1,0-1,0 1,0-1,1 0,-1 0,1 0,0 0,0-1,1 1,-1-1,1 0,-1 0,8 4,7 5,1-1,0-1,25 9,-35-15,-7-3,1 0,-1 0,0 0,1 0,-1-1,0 1,1-1,-1 1,1-1,-1 0,1 0,-1 0,1 0,-1-1,0 1,1-1,-1 1,1-1,-1 0,0 0,0 0,1 0,-1 0,0-1,0 1,0 0,0-1,-1 0,1 1,2-4,-2 2,1-1,-1-1,0 1,0 0,0 0,-1-1,0 1,1-1,-2 1,1-1,0 0,-1 1,0-1,0 0,-1-7,0 9,1-1,-1 1,0 0,0 0,0 0,0 0,-1 0,1 0,-1 0,0 0,0 0,0 1,0-1,0 1,0-1,-1 1,1 0,-1 0,1 0,-1 0,0 1,0-1,0 1,0 0,-4-2,-8-1,1 1,-1 1,0 0,-23 0,-17-3,35 1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33:02.3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0 103,'-32'0,"7"-1,-40 5,57-3,1 0,-1 1,1 0,0 0,0 0,0 1,0 0,0 1,-11 7,3 0,6-5,0 1,0-1,1 2,-14 15,20-22,1 1,0 0,0-1,0 1,0 0,0 0,0 0,0 0,1 0,-1 0,1-1,-1 2,1-1,0 0,0 0,0 0,0 0,0 0,0 0,0 0,1 0,-1 0,1 0,0 0,-1 0,1-1,0 1,0 0,0 0,0-1,1 1,1 2,2 1,1 1,0-1,0 0,1-1,-1 1,1-1,0-1,0 1,0-1,0-1,0 1,14 2,-17-4,-1 0,1-1,-1 1,1-1,0 0,-1 0,1 0,-1 0,1-1,-1 1,1-1,-1 0,1 0,-1 0,0 0,1-1,-1 0,0 1,0-1,0 0,0 0,0-1,-1 1,1-1,-1 1,0-1,1 0,-1 0,2-3,-1-2,0 1,0-1,-1 0,0-1,0 1,-1 0,0-1,0 1,-1-16,-3-2,-10-46,6 40,6 28,1 0,-1 0,1 0,0 0,0 0,1-8,3-1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33:04.5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068,"3"-1005,3 1,19 83,8 76,-28-170,23 91,3 25,-13-21,-1-8,-1 154,-18 502,3-448,-3-323,-1-1,0 1,-2-1,-12 35,11-37,1-3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37.32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,'74'-2,"79"4,-147-1,-1-1,1 1,-1 0,0 0,0 1,0 0,0 0,0 0,0 0,0 1,0-1,-1 1,0 1,1-1,-1 0,0 1,-1 0,1 0,-1 0,0 1,0-1,0 1,0-1,2 7,4 5,0 1,-1 1,10 33,-13-29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37.9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7,'8'0,"13"0,16 0,5 0,-1-4,1-1,-4-3,0-1,2 1,-4 2,6 3,1 1,-5 1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38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4 0,'0'4,"0"5,-4 13,-5 17,-5 22,0 28,2 25,0 13,1 0,4-10,1-21,3-19,2-15,1-18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39.0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8,"4"14,1 7,0 6,3 6,0-2,-2 2,-1-4,2 1,0 1,-1-2,-2 0,-1 2,-2-2,0-4,-1-7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39.46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5"0,1 4,2 9,4 13,-1 7,0 9,-2 9,-3 0,-3-5,-4-1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0.1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78'13,"-203"-9,-44-3,52 8,-79-8,-1-1,0 1,0 0,0 0,0 0,-1 1,1-1,0 0,0 1,-1 0,1 0,-1 0,1 0,3 4,-5-4,0 0,0 0,0 0,0-1,-1 1,1 0,-1 0,1 0,-1 0,0 0,0 0,0 0,0 0,0 0,0 0,0 0,-1 0,1 0,-1 0,1 0,-1 0,0 0,0-1,-1 3,-12 19,-2-1,0 0,-1-1,-2-1,0-1,-29 24,-28 28,36-25,27-2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01.78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52,'2'36,"7"42,-2-19,22 446,-29-412,9-111,-1-1,6-20,4-20,81-241,-73 235,2 1,55-90,-76 142,1 2,0-1,0 1,1 0,21-16,-27 23,0 0,1 1,-1-1,1 1,-1 0,1 0,0 0,0 1,0 0,0-1,0 1,1 1,-1-1,0 0,0 1,0 0,1 0,-1 1,0-1,0 1,1-1,4 3,-7-2,1 0,-1 1,0-1,0 1,0-1,-1 1,1 0,0-1,0 1,-1 0,0 0,1 0,-1 0,0 0,0 1,2 2,9 42,-10-38,32 301,-26-205,-1 181,-7-264,0 1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0.6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4'0,"5"0,5 0,-1 4,3 1,-2 3,0 1,2 3,2-1,-2-3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1.14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9,0 14,0 10,0 10,0 1,0-4,0-1,0-5,0 0,0 0,0-2,0 1,0-3,0-2,0-4,0-2,0-6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2.0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,'57'-1,"66"2,-121-1,0 1,0-1,0 1,1-1,-1 1,0 0,0 0,0 0,0 0,0 0,0 0,-1 0,1 1,0-1,-1 1,1-1,-1 1,1 0,-1 0,0-1,1 1,-1 0,0 0,0 0,-1 0,1 0,0 1,0 2,1 6,0 1,-1 0,0 0,-1 14,0-10,-4 305,4-274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2.7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4'2,"0"0,0 2,0 0,-1 0,1 1,-1 1,-1 0,20 13,-8-2,0 1,-1 2,-1 0,32 38,-27-27,443 451,-396-408,-52-49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3.5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80 0,'-28'17,"2"0,0 2,1 1,-32 32,40-35,-14 14,1 2,2 1,1 2,2 0,2 2,-25 52,-37 55,67-113,1 0,-19 52,11-23,18-46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4.6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8 279,'0'1,"0"0,1 0,-1 0,0-1,1 1,-1 0,0 0,1-1,0 1,-1 0,1-1,-1 1,1 0,0-1,-1 1,1-1,0 1,-1-1,1 1,0-1,0 0,0 1,-1-1,1 0,0 1,0-1,1 0,27 4,-21-5,0 0,-1-1,1 1,0-2,0 1,-1-1,1 0,-1 0,0-1,0 0,0-1,-1 1,0-1,9-8,6-7,-1-1,28-38,-41 50,-1 0,0 0,-1-1,0 0,0 0,4-15,-8 23,-1 1,1-1,-1 0,1 0,-1 0,0 0,1 1,-1-1,0 0,0 0,-1 0,1 0,0 0,-1 0,1 1,-1-1,1 0,-1 0,0 1,0-1,0 0,0 1,0-1,0 1,0-1,-1 1,1 0,0-1,-1 1,1 0,-1 0,1 0,-1 0,0 0,1 0,-1 1,0-1,0 0,0 1,1 0,-1-1,0 1,0 0,-2 0,-7-1,0 0,0 1,0 0,0 1,0 0,1 1,-1 0,0 1,1 0,-1 1,-15 7,18-7,1 0,-1 1,1 0,0 0,0 1,1 0,0 0,0 0,0 1,1 0,0 0,0 0,0 1,-6 15,3 3,0 0,2 0,0 1,-2 41,6-16,5 75,-1-116,0 0,0 0,1 0,0 0,1 0,0-1,0 0,1 0,1 0,0 0,0-1,1 0,8 9,-8-11,-1 0,2-1,-1 0,1 0,-1 0,2-1,-1 0,0-1,1 0,0 0,0-1,0 0,1 0,-1-1,14 1,4-2,-4-1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5.1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3,"13"10,7 6,8 11,5 5,9 4,4 3,1 6,-5 6,-5-2,-7-6,0-7,-7-6,-8-5,-3-7,-4-4,-5-15,-3-9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5.5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71 1,'-4'0,"-13"15,-14 17,-7 14,-4 12,-3 2,3 0,4-7,9-8,5-8,7-7,6-5,6-2,-1-1,0-1,-2-4,0-4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6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5'1,"-1"0,1 0,-1 1,0-1,0 1,1 0,-1 0,0 0,-1 1,8 5,-1-1,64 42,89 79,-154-119,0 0,-1 1,-1 0,1 0,-2 1,1-1,-2 2,1-1,-1 1,-1-1,0 1,-1 1,0-1,1 13,0 21,-1 0,-6 69,1-58,2-28,0-9,-1 0,-5 28,5-42,0 1,-1-1,0 0,-1 0,1 0,-1 0,0 0,-1-1,1 1,-1-1,-6 7,1-4,1-1,-1 0,0-1,-1 1,1-2,-1 1,-1-1,1-1,-1 0,1 0,-16 2,21-5,-12 5,2-2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7.1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32"0,33 0,24 0,8 0,-6 0,-11 0,-16 0,-16 0,-16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02.22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0,4 0,5 0,3 0,5 0,2 0,5 0,-1 0,3 0,3 0,3 0,2 0,-3 0,-3 0,-6 0,-6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8.0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3 1,'0'4,"0"9,-4 10,-5 4,-5 7,-4 0,1 3,-4 6,-3 8,4-2,0 0,1 2,-2-4,4-5,1-11,3-6,3-7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0:48.7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'0,"1"1,-1-1,0 0,0 1,1-1,-1 1,0 0,0-1,0 1,0 0,0 0,0 0,0 0,0-1,0 1,0 1,-1-1,1 0,0 0,-1 0,1 0,0 3,10 29,-5 3,-2 1,-2 1,-2 39,1 13,-1-87,0 0,0-1,1 1,-1 0,1-1,0 1,-1 0,1-1,1 1,-1-1,0 0,0 1,1-1,-1 0,1 0,0 0,0 0,0 0,0 0,0 0,0 0,0-1,1 1,-1-1,0 0,1 0,-1 0,1 0,0 0,2 0,8 2,1-2,-1 1,0-2,26-1,-39 1,61-7,-1-1,66-19,-90 18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3:13.4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755 434,'-7'0,"0"0,0-1,-1 0,1 0,0 0,0-1,0 0,-8-4,-22-7,-1095-243,-26 131,395 120,445 9,-1848-21,2005 14,-204-2,0 29,334-20,-1267 170,792-85,483-85,1 2,0 0,-27 12,43-15,0 1,0-1,0 1,0 0,1 0,0 1,0 0,0 0,0 0,1 0,0 1,0-1,0 1,-4 10,-3 15,1 0,1 1,2 1,-5 51,-2 10,-8 13,-20 107,-18 245,59-435,1-1,1 1,2-1,6 33,34 88,9 36,-27-88,-21-77,1-1,1 0,0 0,1 0,1-1,0 0,1 0,0-1,1 0,0-1,17 15,4-2,1 0,1-2,43 20,49 33,-76-44,1-2,105 44,599 135,-467-138,-11 3,258 61,-479-126,0-3,0-2,96-6,-28-1,-12 3,-1-6,1-5,-2-4,0-5,124-41,-175 39,80-43,-93 42,1 3,1 1,61-18,179-17,20-5,-249 44,0-2,101-48,-132 52,0-1,-2-2,0 0,-1-2,-1 0,0-2,31-37,-18 10,-3 0,-1-3,-3 0,-2-2,22-63,-4-11,31-145,-66 228,-1 0,-3 0,-1 0,-3-1,-1 1,-2-1,-2 0,-14-66,6 51,5 27,-1 0,-1 0,-21-51,18 52,2 1,1-1,1-1,1 0,-1-57,1 27,3-67,2 16,-17 35,15 63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43:15.0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47,'215'-10,"-42"1,683 3,-710-4,-36 1,-92 8,329 0,-326 4,-1 1,0 1,-1 1,1 1,32 15,-5-2,152 56,291 128,-330-123,297 132,-103-76,-266-102,92 46,-25-11,-123-57,1-1,0-1,68 12,-92-22,0 1,-1 0,1 1,0 0,-1 0,0 1,0 0,10 7,4 6,30 27,-38-32,656 545,-645-538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02.59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15"0,15 0,15 0,6 0,4 0,-2 0,-8 0,-14 4,-10 1,-1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03.34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0"28,0 33,4 25,5 29,9 14,5 9,-1-5,-1-11,-4-14,-4-18,-5-16,-4-10,-2-10,-2-5,-1-9,0-8,0-13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5:08:04.84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53 0,'-7'1,"0"-1,-1 2,1-1,0 1,0 0,0 0,0 1,0 0,0 0,1 1,-1-1,1 1,0 1,-9 7,-6 9,0 1,-24 33,13-15,-11 9,-1-2,-58 47,-9-16,109-77,1 0,-1 0,0 1,1-1,0 1,-1-1,1 1,0-1,-1 1,1 0,0-1,0 1,1 0,-1 0,0 0,1 0,-1 0,1 0,-1 0,1 0,0 0,0 4,1-4,-1 1,1 0,1-1,-1 1,0-1,1 1,-1-1,1 1,0-1,-1 0,1 0,0 0,1 0,2 2,8 5,0 0,1-2,0 1,25 8,45 14,-32-12,69 33,-113-46,0 1,0 0,-1 0,0 1,0-1,0 1,-1 1,10 15,11 12,-14-2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6D44A-A563-4B45-9109-9275DAC84C53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22F78-1A3E-426E-9562-4B6C8D59ED5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3186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48521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FCD33D-C439-11C7-409E-1299860A46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4647298-50A1-F4EC-BEFE-275417B1D2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40A8F4-2425-A83A-5E23-7C160224E3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7D1F028-4C8B-159D-7B63-B19CC16EF8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93320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B064CD-5C6D-A9C5-84E5-BC64FAE83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01766DA-3ECB-23E7-8FB0-096AA07370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71FB8C5-0152-CB6B-DC8C-64DB44A114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9047316-9DF5-8494-CC13-2CD1DD96F5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9963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3D20E-036D-2905-E6FC-66C388C57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4684AD8-DB7C-F4AB-404B-E20894D09E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A09949D-DC76-DC19-942D-9E501B284E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87DAF6A-8BF9-4596-7B3C-E4A8477EC9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69538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63E8B-02F2-C340-201C-FBFD0D82C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46AB5C2-159C-D412-3FDE-22FCDDCE8C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C61BDCF-A4B3-D6FA-FF49-C2D61D8581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2803FE-7084-CE62-4A1E-3C9AE444CF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81776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EF39A-B539-0857-FD90-A590835054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F4217CE-8FF6-DD28-477E-28FF02751B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2C2A6AF-B113-B378-D87C-E6963D1C6F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615375A-B1BE-2399-17D9-E17D12C79E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946608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EF6906-D8A8-3E88-DDB2-87F0ACD10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210AD67-3923-6EE2-F5F7-A2B8A9C836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CD19F9-8B14-7669-4E95-D5329902A9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A8C1018-ABEC-E38B-0D9E-B79B7B0D4C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19718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D4B701-E0C9-DFCE-73D6-0335BE050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AD156DB-E5C5-BF67-405F-C9F99A89E5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5BDF200-C291-866D-BB63-5219B70757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2141570-00D8-F175-25F3-C3EC4B37EB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36992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A569BF-88EC-E2C0-712B-897E9FF22F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A1A697F-1E2E-194B-B271-75FE84AB27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76ECBA6-322C-8513-2D4B-1184E4D200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10A742B-B378-EA39-FD60-024B5711D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76633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C882A4-B792-CC50-56E3-AEDB77BF7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5F3F389-CF36-C11F-42F0-8D461E883A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8E4F9DB-C96D-650B-8767-4E1D3A888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0CFF405-E7C0-B53D-232C-F9157F5E90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0492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7E8FC4-0A67-10C6-57DF-B151E1ED2E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7AD5F0D-8630-F45A-CEB2-B3DFA973E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05E3507-C375-5290-CD5E-A5CD078213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531C68-A8EA-57F7-6A1A-A6866A46C9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1502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7462E-951D-359A-618B-56B4C38D6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F0A84B9-3A46-ABE5-40F4-A33A472ABE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A2997F7-8D79-279B-C2C8-1BE1C4AF9D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602E7D2-0DAB-5BB0-B94F-F0C59174F5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43823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C70DD-2FC2-6183-A520-21823A080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933BD10-626D-E119-8FC8-211A7EA8B8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35383C8-F82F-C29A-E16D-12583B282F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05E1D0-6C82-1C11-0A4C-99BF4381F6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68849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9E194A-6AAE-DB01-3172-977369757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CC00C45-E055-DE18-5847-C7D35B8E4F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56B5038-D132-09A5-7EDD-94D530A908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D554379-CD3F-2B7C-4075-478AC1C56B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86617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779473-26D4-117F-BDB4-A963F2C84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EE978C8-EF00-D9D6-8BD7-D32F4EEF97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D4CBE43-B90E-51D6-04AA-3FEDD89E98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E147A65-1DC5-87CB-C3F2-B496E90AA4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2329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10471-3062-2F54-97FB-5560D1F6F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CBBC247-CFB9-4C28-6CEF-28DDAA03CD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979C62-9188-407C-F02B-C49A6C99E1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54FCE01-03F6-0C3A-7257-BD81EC80AD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18149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4B2FE-9EF2-B1E5-CD4B-29A2BA9675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A4550B5-1D1B-96FA-40EC-DCB9764564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BD4676C-248F-B500-35BB-EDE7D9C52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CA1D78-88B3-F945-CDE8-BE8A2F3674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30771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EF5748-A27B-1AB7-B969-E272556314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0DF2219-078C-6680-D362-BFD50F3E22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B738E0A-EEC7-CA2D-4D9A-6B1A86720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845365-A6ED-5C9B-D010-C3D27895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87139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98E3A-FE1D-CF50-5652-9DC69DF8E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1AA6D15-C66A-A2DF-0E4C-AC07630BC5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7C6B5E4-41CA-2287-FD7A-C90B7F0DB7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9021322-C185-F9DF-0C7A-3D8C978692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59433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A9FE9-8DDC-68CF-E073-BA070A60D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27CD53-0A19-77A2-24DF-52E95BEC04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0F52E56-ABEB-CC2C-42E6-722DE3029B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D377A1C-90F9-9679-C742-8F995BFDD9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319215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7B7D6-CBF2-3FAA-B43C-F77FE5479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8C7AB6C-882C-B0EE-533D-D4A73B195B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F7ECB0E-F9DC-6832-23EB-56A01B927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8725DB7-CD08-D23C-793F-B9A2C1F201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31880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66C77-DD3E-6BCB-DFF6-72E9971D0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5732E94-0DA1-3E35-172A-C835F3F613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6ACD80F-238F-3B83-6311-6880C924FB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C755711-04B0-068B-55F4-D43E772B8D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197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E202B-E381-D956-A01F-23DE6E410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C08B786-EF2C-AC7A-969F-5C96A97021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7CA8AB9-8AD6-FE7A-457E-98BBBC63D8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C42D5F0-B067-838D-4AF5-E72435392D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98526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27C4F9-8F4B-F3F5-108F-F4F45F224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88EF099-D08D-6E8D-95EF-AF9B8EF06C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194B237-601B-EEF3-664E-D8FDCE625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F54DF0E-9EDF-A0B9-2E36-0BB62F974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940895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8B032-8804-5D44-ADAE-6F9DC1091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1E25A01-7889-4A8F-C5A6-E1D3514597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8F615C8-2A26-838E-21AC-9194E0EEA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560136-E72E-FB89-3D20-9DBABEB5CD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935572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12FA85-C264-25CE-F126-6AEC994FB8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D9778E0-ACC2-F687-A1FE-BA984FE2C8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F4B07F2-FAA5-1544-366B-87C9EA2E12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8F0C69-433F-60BF-ED1D-89E38F0333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832413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D61CD-F4FD-58AC-B3BF-783C8B7EC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A015CBB-416A-3677-1238-8FA94BF74D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260D5CB-D7EC-1063-6750-BFAF21573D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4598820-97F5-252A-DD91-21CAF921FB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1352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425132-D268-29BA-E657-C5DE98E83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5F8DBD7-AE79-948D-7391-C8542870BD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45F1F04-358F-35C0-D536-0969DED9CE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4C9A99-AAA3-7308-674D-F7E44DCAB8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54239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2A31A-8C64-B1B6-72A0-1EAC93007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9C74039-988D-6110-8BDE-B4308B8482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4235C21-B92E-9785-49C8-38A220B3D1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0A48669-92CA-3C65-952E-181BA5C9CA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38289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5A16AC-21B3-D349-93A1-5F68ED704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9E2FC9B-20C7-0F49-96D5-695E2B1C80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3F7B9F3-C789-9A20-ACC5-396EA76C57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E0F9147-8928-EF06-6048-C6DE5F2A48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428654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AD22FA-FF56-EEFE-FCB9-1FAFD257C0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1DA8780-F06D-4030-E415-CD8DC23ADD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67AAFFC-914E-D817-1F8D-06238977BC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087AD6A-6BFA-29C7-0E54-9A65932BA3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479793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1CEF5-EA60-9484-81FB-504E00D2AA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52AC7C2-99BA-3BDC-BBA6-58FB359914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EB65FC2-3E94-23FC-9A14-745119C5C5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4A5E40-F473-418F-0798-47BC10774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517222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07EBE1-C5EF-F953-B280-2DACA30C0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0CB1C15-78F2-8A6E-A3F6-C0FAF1BBC3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3A95F2C-C256-AEB8-83DE-529BEFEBC5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7506727-864D-00AB-4AE0-ABB48E6B9D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8366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1F2AD-107B-8905-1BDC-CC08E4A49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C98CDE5-7323-A87C-93B3-D94655A402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229E0FD-8D4B-9AD7-405F-1EF87959A4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02E32D1-E9A2-8246-D328-1FA0A66280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42033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4C469B-7885-E9F1-4E4D-78F60E2B2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99C6161-0C7F-F56D-9A9F-B3269035F9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2E1CAEC-472C-230B-74D3-E347749F2F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700B46B-CCE3-F8AB-58FF-C294C4CF77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24830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832D3-A4E5-9CF3-B6CB-3826E5965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2788493-6102-84D9-6A0E-8EC6A3C2AF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7A66B55-F737-113D-45CA-3481F6B22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B04DF4B-533E-13BC-93A1-998FB0F850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80057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8F6E4D-07E2-C407-7627-C52FE4FED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6D570C9-4E8B-090C-97E5-EF5EDCB48F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B6E26E-B88D-300B-6EB3-5F69DD6AD2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E663B7F-0B36-A914-47C8-FBA725D422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343683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C1518-C744-3485-86DB-9BCB5CEF6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66D71DC-B7F6-0601-1438-89CCB4A392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1409A74-FBCF-E575-4B4A-621246B85B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234E69E-8BB6-DD27-3F39-2BDFF9CDEF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1379500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42491-B479-3C69-4EF0-9C33BFADD5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116DE60-7540-70FC-11C4-9E6F5FB7B5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49579D4-9E02-02FF-8051-59AC43E5A8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F99F0B7-D064-3164-9617-10858EE75C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86330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D96BC1-0186-03D7-8757-B131022DB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5D46F23-126F-4399-3555-68937D91BC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543B530-F60B-8794-5210-D4CE91C0A8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92E5979-17BD-61A2-A9C1-317C4B34CE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783490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EE031F-60B8-5D57-3DE2-930BA4476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F7A54AB-1DCF-5D6D-C655-0130A0F560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2D3E22C-78D1-03B0-F9C1-897F87A9F4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C4BA632-8129-CB59-E745-3B135B433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918935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DF66F-95A5-67D8-1F4A-428DD097B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8516E9-7B61-D288-D678-37111A1C1D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45D54BB-D445-7E76-47D9-327EE7D3C9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48787C-2B48-88A8-B28D-07E912ABCD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148454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52B0A8-DB15-A0E3-0D7A-335546767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54B9CE5-35E5-6FB5-DC2D-CCF7B8AE55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48CC20-2F41-4666-F52F-ECBA013FA3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CF51B88-096C-482C-A789-3CC5E0B0CA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902217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961097-F772-7D85-D10D-38436C010B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1777CDF-611A-CC50-ADE8-DFD90C971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DD5268E-94F1-7371-BEFA-30226BFCCF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4994F0-17F5-31AC-3139-82B9E2ECD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396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0D79F-BA5A-38F7-0E74-B2E9772BD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101B14C-F031-C10C-B169-21E3071D99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E844497-06C4-BD7B-5897-9F850731EB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762E97E-64C5-2368-BA71-E6711047A0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484478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F0E518-F267-F5B4-F564-05AC1668F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44FBFE7-FEE7-52FD-9405-A438E90436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D1BA758-1DA1-9BF3-F39C-9A103B33C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7634F7-8D23-FB3F-9E72-BDB242F8C6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6770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3AFA8-53DB-DDB9-0B67-B9A30055A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672DD5F-85BA-03A2-608B-8EAD67B7AB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6ECBC17-BF9D-52F8-526F-EB7BDEC08A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12388EB-ECC8-B519-018F-D274F69DA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45921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88330-04CC-8537-CA43-8F0F8889B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FB62604-4C8A-DEED-236F-36D501D9DF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2BC5766-06C8-9E0A-5FFC-085E0D194A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ED384AC-4A3D-6D96-F4D7-12BC730DB0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437209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C493D-32AF-A501-DF42-FF58769CD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9F2778C-90B5-6A23-80CC-D736D9EC0F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4DB1C13-6377-4407-88E2-D82845AEB3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4EB3C3C-DCAB-C09B-E9EC-1FD3B7A789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73520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CC43E-0B25-D6C5-C1A1-6E2B116AA1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0341B53-B6F6-A8E4-B1B2-DFF832C0D6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C74805B-F313-CE01-1D72-51FADE3FE1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5D64DA9-DF34-07FA-5A52-3710947D47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567521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9BD1B-2A8E-E76C-F1C0-0116CF0B4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AE99D1F-2FEE-E913-C03D-5A5B9E78BB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5BD0549-5B4E-09FD-3E90-11697A7160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F01FF54-312D-F4EC-B5F1-30A9BA4D7C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035187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372A71-E908-2588-A236-3A5C877ED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C318748-33EF-B191-F2EE-806AE8FDBC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E0E22B6-7E8F-5E0B-468D-F071DD90E9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14BD2FB-1F05-B26B-5315-2E73B3B1B4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423443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F278F-2712-11CF-FCC6-0DBF6A26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CDF6F3E-801E-27DD-86A6-9D41E5B613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AC13C86-E01E-89A8-CEEC-381A7DBC8C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F0E8F05-0786-EA2F-6AC5-F33F616D60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907245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9536C-EA5C-6229-ABFC-1BF1B6AB2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74ACC07-7789-F2A0-04A0-772BC7F2ED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5BBF619-B5B4-AA6D-1480-C084F50BE3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95FA71C-D350-B6C0-29F4-2B8EE1EBC0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188965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14467-24DE-2AE4-8E8E-D0473084A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35CFBA3-CB9D-8986-F2F7-3DAB30690B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47C3262-A2BC-83A2-E93D-1B5DBBAA54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1CE9FBF-3CF4-7386-AD3D-55B4DBCCEC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3745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0DFD5-FEF4-D6DB-6757-12F3031E21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BC10B85-2223-A0D1-08C3-CB29E5290D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7C0D022-601B-7BEB-8F6D-B016F6F21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E3C870-1D49-3FE9-8F34-CF8247E240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604541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0694A-FEB4-3D7E-3871-72124034D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E48FD4C-8EBC-CE8F-F10F-9886EB779A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3C68544-8507-8FA2-444B-43F35F1DD8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9E3A08B-A073-98C1-1677-020F34AB37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18217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660229-4079-1AEF-865C-3C1FE3F9F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AAB4F7D-A5D1-F979-072C-F354C1DB0F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BA2E6A4-F87F-84EB-F077-F5A84DAA3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00656C4-B4EB-70FC-CBC4-C3E91BF7A6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391545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608D3-7FFC-357E-E952-22D5AB6F8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2989374-1DB1-0E4F-FE54-AA59358496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0856506-615D-DE4C-343C-8057CDD80D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47FE2D2-D51E-82E1-EBE6-601019331D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4520987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7A28B-8D32-12B7-DBBA-93C7FB812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0F0EC31-4950-1DEE-708C-AD7E793FB6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021DAA8-88AE-90DB-F30F-906900BCE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115E494-BD02-8D74-E5E5-3FC9F3B3B4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529322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007C4-37A3-EE33-B4DC-F99C48B6E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0114F47-8EA0-C54E-A44A-28B3C98221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18029B5-AD7B-DD38-01AF-554DB8FCC1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EDF8B9A-6A87-CB77-510A-875279F973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603438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E99DB-F8D1-60E2-0DA9-1A1B14E178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870C5ED-7A2A-3742-FFFF-8090EC6674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010CF65-8B6D-FD72-9DA6-543A857EF1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7FBA38E-E457-E3AD-8063-7871EEDFD1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049410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61849-B458-D283-CBD9-CCE28BD38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34FFD35-8B48-E420-DAA0-2D298B47E5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C7889BB-D36B-60DC-3EFF-58A8DE2909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9046F17-1910-C42E-2089-32BB9938AC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206607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E612B-17CD-6EB5-4CDB-B799EFC91F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D15D581-B2EA-AAE3-0877-53C07BC07F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A32E877-C4D4-20D5-7A5E-40FE9C38E7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B6769A-DCE6-CCEC-0CC4-09F5EDF96F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285326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1EC6E-0E16-4A79-1C7F-5DA89852F8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E5D1E2B-ED37-537C-A016-013C5F7B25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A73D06A-967D-D7A4-4E5F-445695A857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4BEEC3-A278-EF77-5328-7854948615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0291278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643B3-5561-C29F-057E-08D6B506F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AFCBD99-65E6-93A7-E3FB-D6D91A2387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C604C3F-30DC-56AC-E119-444994A39F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E3F7739-3C87-7BC6-7CF1-8974E69D2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1922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CB674-EE01-8294-6744-855ADE72BC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1742226-E103-6C45-DCFB-BEDF32DD35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39F833F-0F70-9EAA-E11B-E07DA4CBF9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621EA20-9C74-BFE9-14E5-C1D7FD7EAF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355164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024E9-759D-FF11-2C59-FB38FD283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B9C32A1-7A4E-774D-4FF2-A14AEFBB28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7C33652-A074-DDAE-C13C-87772DB7AF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C179C84-EA01-B21E-359F-20B0799697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390249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313224-7ED0-EE47-FDC4-3DD2DB12F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250B0AD-808B-2738-640C-095264E3E9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8C28F5F-361A-4A22-858B-0A8E5FFE73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7623E4-7821-DB50-55C4-588D4D08CD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716468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190218-D269-21D5-2A52-6F41B30E0F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B8EC150-0675-E099-1C18-2DC881AF4C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53C40BD-FD92-7656-4DDB-74E2306825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AD6ABF-BA87-D424-9B5C-6AE0058D2D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76859921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31A6B1-C8C0-4D5E-0DF5-D1F4FD2C6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02D1F1E-D167-8488-9397-876ACB2923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3E2CE77-DA70-E550-FAED-E3F148BF1F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7478603-2D65-0B6E-FF38-C9AEC8CE9F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1290603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D0418F-7BED-6C15-51D8-A533B17C6E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6063A99-5BC3-6B82-0416-EFF138D6C3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AACCE4B-91CD-9740-0699-F444F876E5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084C4F-4581-A13F-DB0B-36F9C39F2A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1515346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E035B-E529-9A61-8A38-10757A4B4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CFDB4E2-F2F8-8FB1-3C8D-13079929E0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356FE4E-93EE-6732-F593-6562FC5BA3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7F3AC0-B3FD-F347-8527-8D49EF498E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5819758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E1771-E359-D6B1-FF14-8095A6FA6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E3B0767-B864-0C06-7FBF-0737E50354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3E772DD-B92E-635F-A98D-704DE7B769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4CC4F15-537F-DDB4-3205-B03DBC9956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89493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2CF26-AE2A-9D11-3F8D-E92BDE8AB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4BD068F-217F-1423-8873-35F5424B9C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853D95-7733-5829-8A49-A4F6967C67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385F74-BC9D-EC19-4D91-A4BFCE3BB4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424851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0940C-BD63-2D01-EEF0-4B8313F979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37E33FB-609B-63C4-E7A8-F7CBF97313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18A56E0-BDFF-9D35-C10F-77B1ADA3BF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EEBA6B2-41A8-C329-B437-E7EE11A679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784564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6D4651-38A1-AF26-CDD3-413950ECD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46FE9FF-7A69-B2E8-0744-51AB1755BC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B5D2713-9FBC-9620-DAE3-1DF332E287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75C040D-5C98-9A0B-B7F4-5F125BCC4B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10761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3B463-B528-3B57-69D8-D37A71367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1E0018-AC12-FAB7-FD32-6B89F428CC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F1A3D24-F09D-A1D2-E688-F6320E9D7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D9E647-6370-C788-ACFF-8DC4712EF2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103142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0230BF-EBFD-F30B-97A0-3A69803E1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76AFB7-CBA1-C39C-6242-BAE46C08B5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1876F3E-9685-97B0-277D-D991A257AC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1142BA2-12F7-9F72-185B-8AFAF51F38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5197115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42B94-93A2-5B21-38CF-D0F13F098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804F076-13A7-5FFB-76EE-4E709B2B0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457ECE7-CC9F-4F08-C9D8-60AF2FBAEA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C6A6D31-61A8-5392-7859-D812062A01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732959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CBB430-52E1-FB2B-13C3-A9ECDFBD03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B1A7FA1-E8EF-F76E-E832-B8830B925A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8EC2036-DF8E-9ACD-3DF3-C3CD8BA3FA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6DF65F4-3122-A6AF-270B-F0920A23CB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042851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34E32-A4B9-EB13-CB5C-2834B3F63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FA987A2-3C5E-D861-CB8C-3D8E9FBB57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BDC149B-700F-CAB4-95C2-845E4EA87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BD3DFB5-1073-F0DC-E016-41B3EBEB76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480766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C4DFAF-A784-DEF8-DF76-AEEBF164E9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3DAAEA-F26D-027C-C056-FF5B2636C0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6718732-5DDD-F170-86FD-147E8170D0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4DE47B6-6634-0C9D-7407-0BEB9AE665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5253825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C1EAF-9797-F245-E9BD-3E990425F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5E29EC7-FEEF-6AC4-187C-103278BDD3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A8F9C8B-ECE9-2F2B-D837-667D1A78E7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8527624-F076-B622-90EB-6695D830D5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5847937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21838-05EF-A9E7-A059-7C1DC21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9A3B746-1EE2-1DA3-A370-208405008A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CA4F58C-14B0-CB7C-CBFF-CF7A315C0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4BD9C9-917D-9B32-9BD7-B3ACA32452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153611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F1E4F1-5EC6-CDA9-D3C7-C31B9ABB6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DCB819D-E294-FD87-00F9-3148A8CD85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7C760CA-099C-D02D-C8EA-45AC1E351B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F7B1006-E518-F637-7ABA-40A5862BCF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2515433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F5C785-A319-6E2F-4D69-AB02E1211E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55658F5-F985-8D7F-58AA-49F871E499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1BC6B0-50C2-E26E-CA71-211B67B9DA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0DED01C-FE2E-1658-E979-C99BC44EED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250185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C3C0AC-4816-CC10-953C-855E44586E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8B42A4E-BA8E-AC02-6607-ADDCB96AD3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5A5EF4-F773-FFB8-C18A-A045D1956A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6B8E92A-5007-9DFF-A2D4-FA9CD53F34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8070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7B7AD-D075-E76C-5781-2558345AF3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5796450-5829-F974-AF8A-168EC51CB9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4B26FF7-7618-B7D9-2A3B-8F6BCF38E2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B39647E-C456-F946-E47C-43CF4AD0A1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096104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31C2A-3B45-8763-B47C-8108F9AF71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AD4AEE5-760A-7B7C-9937-E459032F1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7BBD7DE-AC85-37CA-CB05-228C95396A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5A62237-8A00-C6D3-7E8C-D0C536A877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2670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1921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8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918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1583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818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2776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299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0779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7932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9954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636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21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jpe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0.png"/><Relationship Id="rId18" Type="http://schemas.openxmlformats.org/officeDocument/2006/relationships/customXml" Target="../ink/ink8.xml"/><Relationship Id="rId26" Type="http://schemas.openxmlformats.org/officeDocument/2006/relationships/customXml" Target="../ink/ink12.xml"/><Relationship Id="rId39" Type="http://schemas.openxmlformats.org/officeDocument/2006/relationships/image" Target="../media/image83.png"/><Relationship Id="rId21" Type="http://schemas.openxmlformats.org/officeDocument/2006/relationships/image" Target="../media/image74.png"/><Relationship Id="rId34" Type="http://schemas.openxmlformats.org/officeDocument/2006/relationships/customXml" Target="../ink/ink16.xml"/><Relationship Id="rId42" Type="http://schemas.openxmlformats.org/officeDocument/2006/relationships/customXml" Target="../ink/ink20.xml"/><Relationship Id="rId47" Type="http://schemas.openxmlformats.org/officeDocument/2006/relationships/image" Target="../media/image87.png"/><Relationship Id="rId50" Type="http://schemas.openxmlformats.org/officeDocument/2006/relationships/customXml" Target="../ink/ink24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57.xml"/><Relationship Id="rId16" Type="http://schemas.openxmlformats.org/officeDocument/2006/relationships/customXml" Target="../ink/ink7.xml"/><Relationship Id="rId29" Type="http://schemas.openxmlformats.org/officeDocument/2006/relationships/image" Target="../media/image78.png"/><Relationship Id="rId11" Type="http://schemas.openxmlformats.org/officeDocument/2006/relationships/image" Target="../media/image69.png"/><Relationship Id="rId24" Type="http://schemas.openxmlformats.org/officeDocument/2006/relationships/customXml" Target="../ink/ink11.xml"/><Relationship Id="rId32" Type="http://schemas.openxmlformats.org/officeDocument/2006/relationships/customXml" Target="../ink/ink15.xml"/><Relationship Id="rId37" Type="http://schemas.openxmlformats.org/officeDocument/2006/relationships/image" Target="../media/image82.png"/><Relationship Id="rId40" Type="http://schemas.openxmlformats.org/officeDocument/2006/relationships/customXml" Target="../ink/ink19.xml"/><Relationship Id="rId45" Type="http://schemas.openxmlformats.org/officeDocument/2006/relationships/image" Target="../media/image86.png"/><Relationship Id="rId5" Type="http://schemas.openxmlformats.org/officeDocument/2006/relationships/image" Target="../media/image66.png"/><Relationship Id="rId15" Type="http://schemas.openxmlformats.org/officeDocument/2006/relationships/image" Target="../media/image71.png"/><Relationship Id="rId23" Type="http://schemas.openxmlformats.org/officeDocument/2006/relationships/image" Target="../media/image75.png"/><Relationship Id="rId28" Type="http://schemas.openxmlformats.org/officeDocument/2006/relationships/customXml" Target="../ink/ink13.xml"/><Relationship Id="rId36" Type="http://schemas.openxmlformats.org/officeDocument/2006/relationships/customXml" Target="../ink/ink17.xml"/><Relationship Id="rId49" Type="http://schemas.openxmlformats.org/officeDocument/2006/relationships/image" Target="../media/image88.png"/><Relationship Id="rId10" Type="http://schemas.openxmlformats.org/officeDocument/2006/relationships/customXml" Target="../ink/ink4.xml"/><Relationship Id="rId19" Type="http://schemas.openxmlformats.org/officeDocument/2006/relationships/image" Target="../media/image73.png"/><Relationship Id="rId31" Type="http://schemas.openxmlformats.org/officeDocument/2006/relationships/image" Target="../media/image79.png"/><Relationship Id="rId44" Type="http://schemas.openxmlformats.org/officeDocument/2006/relationships/customXml" Target="../ink/ink21.xml"/><Relationship Id="rId4" Type="http://schemas.openxmlformats.org/officeDocument/2006/relationships/customXml" Target="../ink/ink1.xml"/><Relationship Id="rId9" Type="http://schemas.openxmlformats.org/officeDocument/2006/relationships/image" Target="../media/image68.png"/><Relationship Id="rId14" Type="http://schemas.openxmlformats.org/officeDocument/2006/relationships/customXml" Target="../ink/ink6.xml"/><Relationship Id="rId22" Type="http://schemas.openxmlformats.org/officeDocument/2006/relationships/customXml" Target="../ink/ink10.xml"/><Relationship Id="rId27" Type="http://schemas.openxmlformats.org/officeDocument/2006/relationships/image" Target="../media/image77.png"/><Relationship Id="rId30" Type="http://schemas.openxmlformats.org/officeDocument/2006/relationships/customXml" Target="../ink/ink14.xml"/><Relationship Id="rId35" Type="http://schemas.openxmlformats.org/officeDocument/2006/relationships/image" Target="../media/image81.png"/><Relationship Id="rId43" Type="http://schemas.openxmlformats.org/officeDocument/2006/relationships/image" Target="../media/image85.png"/><Relationship Id="rId48" Type="http://schemas.openxmlformats.org/officeDocument/2006/relationships/customXml" Target="../ink/ink23.xml"/><Relationship Id="rId8" Type="http://schemas.openxmlformats.org/officeDocument/2006/relationships/customXml" Target="../ink/ink3.xml"/><Relationship Id="rId51" Type="http://schemas.openxmlformats.org/officeDocument/2006/relationships/image" Target="../media/image89.png"/><Relationship Id="rId3" Type="http://schemas.openxmlformats.org/officeDocument/2006/relationships/image" Target="../media/image65.png"/><Relationship Id="rId12" Type="http://schemas.openxmlformats.org/officeDocument/2006/relationships/customXml" Target="../ink/ink5.xml"/><Relationship Id="rId17" Type="http://schemas.openxmlformats.org/officeDocument/2006/relationships/image" Target="../media/image72.png"/><Relationship Id="rId25" Type="http://schemas.openxmlformats.org/officeDocument/2006/relationships/image" Target="../media/image76.png"/><Relationship Id="rId33" Type="http://schemas.openxmlformats.org/officeDocument/2006/relationships/image" Target="../media/image80.png"/><Relationship Id="rId38" Type="http://schemas.openxmlformats.org/officeDocument/2006/relationships/customXml" Target="../ink/ink18.xml"/><Relationship Id="rId46" Type="http://schemas.openxmlformats.org/officeDocument/2006/relationships/customXml" Target="../ink/ink22.xml"/><Relationship Id="rId20" Type="http://schemas.openxmlformats.org/officeDocument/2006/relationships/customXml" Target="../ink/ink9.xml"/><Relationship Id="rId41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9.png"/><Relationship Id="rId18" Type="http://schemas.openxmlformats.org/officeDocument/2006/relationships/customXml" Target="../ink/ink32.xml"/><Relationship Id="rId26" Type="http://schemas.openxmlformats.org/officeDocument/2006/relationships/customXml" Target="../ink/ink36.xml"/><Relationship Id="rId3" Type="http://schemas.openxmlformats.org/officeDocument/2006/relationships/image" Target="../media/image94.png"/><Relationship Id="rId21" Type="http://schemas.openxmlformats.org/officeDocument/2006/relationships/image" Target="../media/image103.png"/><Relationship Id="rId34" Type="http://schemas.openxmlformats.org/officeDocument/2006/relationships/customXml" Target="../ink/ink40.xml"/><Relationship Id="rId7" Type="http://schemas.openxmlformats.org/officeDocument/2006/relationships/image" Target="../media/image96.png"/><Relationship Id="rId12" Type="http://schemas.openxmlformats.org/officeDocument/2006/relationships/customXml" Target="../ink/ink29.xml"/><Relationship Id="rId17" Type="http://schemas.openxmlformats.org/officeDocument/2006/relationships/image" Target="../media/image101.png"/><Relationship Id="rId25" Type="http://schemas.openxmlformats.org/officeDocument/2006/relationships/image" Target="../media/image105.png"/><Relationship Id="rId33" Type="http://schemas.openxmlformats.org/officeDocument/2006/relationships/image" Target="../media/image109.png"/><Relationship Id="rId2" Type="http://schemas.openxmlformats.org/officeDocument/2006/relationships/notesSlide" Target="../notesSlides/notesSlide62.xml"/><Relationship Id="rId16" Type="http://schemas.openxmlformats.org/officeDocument/2006/relationships/customXml" Target="../ink/ink31.xml"/><Relationship Id="rId20" Type="http://schemas.openxmlformats.org/officeDocument/2006/relationships/customXml" Target="../ink/ink33.xml"/><Relationship Id="rId29" Type="http://schemas.openxmlformats.org/officeDocument/2006/relationships/image" Target="../media/image107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6.xml"/><Relationship Id="rId11" Type="http://schemas.openxmlformats.org/officeDocument/2006/relationships/image" Target="../media/image98.png"/><Relationship Id="rId24" Type="http://schemas.openxmlformats.org/officeDocument/2006/relationships/customXml" Target="../ink/ink35.xml"/><Relationship Id="rId32" Type="http://schemas.openxmlformats.org/officeDocument/2006/relationships/customXml" Target="../ink/ink39.xml"/><Relationship Id="rId5" Type="http://schemas.openxmlformats.org/officeDocument/2006/relationships/image" Target="../media/image95.png"/><Relationship Id="rId15" Type="http://schemas.openxmlformats.org/officeDocument/2006/relationships/image" Target="../media/image100.png"/><Relationship Id="rId23" Type="http://schemas.openxmlformats.org/officeDocument/2006/relationships/image" Target="../media/image104.png"/><Relationship Id="rId28" Type="http://schemas.openxmlformats.org/officeDocument/2006/relationships/customXml" Target="../ink/ink37.xml"/><Relationship Id="rId10" Type="http://schemas.openxmlformats.org/officeDocument/2006/relationships/customXml" Target="../ink/ink28.xml"/><Relationship Id="rId19" Type="http://schemas.openxmlformats.org/officeDocument/2006/relationships/image" Target="../media/image102.png"/><Relationship Id="rId31" Type="http://schemas.openxmlformats.org/officeDocument/2006/relationships/image" Target="../media/image108.png"/><Relationship Id="rId4" Type="http://schemas.openxmlformats.org/officeDocument/2006/relationships/customXml" Target="../ink/ink25.xml"/><Relationship Id="rId9" Type="http://schemas.openxmlformats.org/officeDocument/2006/relationships/image" Target="../media/image97.png"/><Relationship Id="rId14" Type="http://schemas.openxmlformats.org/officeDocument/2006/relationships/customXml" Target="../ink/ink30.xml"/><Relationship Id="rId22" Type="http://schemas.openxmlformats.org/officeDocument/2006/relationships/customXml" Target="../ink/ink34.xml"/><Relationship Id="rId27" Type="http://schemas.openxmlformats.org/officeDocument/2006/relationships/image" Target="../media/image106.png"/><Relationship Id="rId30" Type="http://schemas.openxmlformats.org/officeDocument/2006/relationships/customXml" Target="../ink/ink38.xml"/><Relationship Id="rId35" Type="http://schemas.openxmlformats.org/officeDocument/2006/relationships/image" Target="../media/image110.png"/><Relationship Id="rId8" Type="http://schemas.openxmlformats.org/officeDocument/2006/relationships/customXml" Target="../ink/ink2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customXml" Target="../ink/ink43.xml"/><Relationship Id="rId3" Type="http://schemas.openxmlformats.org/officeDocument/2006/relationships/image" Target="../media/image115.png"/><Relationship Id="rId7" Type="http://schemas.openxmlformats.org/officeDocument/2006/relationships/image" Target="../media/image117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42.xml"/><Relationship Id="rId5" Type="http://schemas.openxmlformats.org/officeDocument/2006/relationships/image" Target="../media/image116.png"/><Relationship Id="rId4" Type="http://schemas.openxmlformats.org/officeDocument/2006/relationships/customXml" Target="../ink/ink41.xml"/><Relationship Id="rId9" Type="http://schemas.openxmlformats.org/officeDocument/2006/relationships/image" Target="../media/image118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8.png"/><Relationship Id="rId18" Type="http://schemas.openxmlformats.org/officeDocument/2006/relationships/customXml" Target="../ink/ink51.xml"/><Relationship Id="rId26" Type="http://schemas.openxmlformats.org/officeDocument/2006/relationships/customXml" Target="../ink/ink55.xml"/><Relationship Id="rId39" Type="http://schemas.openxmlformats.org/officeDocument/2006/relationships/image" Target="../media/image141.png"/><Relationship Id="rId21" Type="http://schemas.openxmlformats.org/officeDocument/2006/relationships/image" Target="../media/image132.png"/><Relationship Id="rId34" Type="http://schemas.openxmlformats.org/officeDocument/2006/relationships/customXml" Target="../ink/ink59.xml"/><Relationship Id="rId7" Type="http://schemas.openxmlformats.org/officeDocument/2006/relationships/image" Target="../media/image125.png"/><Relationship Id="rId12" Type="http://schemas.openxmlformats.org/officeDocument/2006/relationships/customXml" Target="../ink/ink48.xml"/><Relationship Id="rId17" Type="http://schemas.openxmlformats.org/officeDocument/2006/relationships/image" Target="../media/image130.png"/><Relationship Id="rId25" Type="http://schemas.openxmlformats.org/officeDocument/2006/relationships/image" Target="../media/image134.png"/><Relationship Id="rId33" Type="http://schemas.openxmlformats.org/officeDocument/2006/relationships/image" Target="../media/image138.png"/><Relationship Id="rId38" Type="http://schemas.openxmlformats.org/officeDocument/2006/relationships/customXml" Target="../ink/ink61.xml"/><Relationship Id="rId2" Type="http://schemas.openxmlformats.org/officeDocument/2006/relationships/notesSlide" Target="../notesSlides/notesSlide72.xml"/><Relationship Id="rId16" Type="http://schemas.openxmlformats.org/officeDocument/2006/relationships/customXml" Target="../ink/ink50.xml"/><Relationship Id="rId20" Type="http://schemas.openxmlformats.org/officeDocument/2006/relationships/customXml" Target="../ink/ink52.xml"/><Relationship Id="rId29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45.xml"/><Relationship Id="rId11" Type="http://schemas.openxmlformats.org/officeDocument/2006/relationships/image" Target="../media/image127.png"/><Relationship Id="rId24" Type="http://schemas.openxmlformats.org/officeDocument/2006/relationships/customXml" Target="../ink/ink54.xml"/><Relationship Id="rId32" Type="http://schemas.openxmlformats.org/officeDocument/2006/relationships/customXml" Target="../ink/ink58.xml"/><Relationship Id="rId37" Type="http://schemas.openxmlformats.org/officeDocument/2006/relationships/image" Target="../media/image140.png"/><Relationship Id="rId5" Type="http://schemas.openxmlformats.org/officeDocument/2006/relationships/image" Target="../media/image124.png"/><Relationship Id="rId15" Type="http://schemas.openxmlformats.org/officeDocument/2006/relationships/image" Target="../media/image129.png"/><Relationship Id="rId23" Type="http://schemas.openxmlformats.org/officeDocument/2006/relationships/image" Target="../media/image133.png"/><Relationship Id="rId28" Type="http://schemas.openxmlformats.org/officeDocument/2006/relationships/customXml" Target="../ink/ink56.xml"/><Relationship Id="rId36" Type="http://schemas.openxmlformats.org/officeDocument/2006/relationships/customXml" Target="../ink/ink60.xml"/><Relationship Id="rId10" Type="http://schemas.openxmlformats.org/officeDocument/2006/relationships/customXml" Target="../ink/ink47.xml"/><Relationship Id="rId19" Type="http://schemas.openxmlformats.org/officeDocument/2006/relationships/image" Target="../media/image131.png"/><Relationship Id="rId31" Type="http://schemas.openxmlformats.org/officeDocument/2006/relationships/image" Target="../media/image137.png"/><Relationship Id="rId4" Type="http://schemas.openxmlformats.org/officeDocument/2006/relationships/customXml" Target="../ink/ink44.xml"/><Relationship Id="rId9" Type="http://schemas.openxmlformats.org/officeDocument/2006/relationships/image" Target="../media/image126.png"/><Relationship Id="rId14" Type="http://schemas.openxmlformats.org/officeDocument/2006/relationships/customXml" Target="../ink/ink49.xml"/><Relationship Id="rId22" Type="http://schemas.openxmlformats.org/officeDocument/2006/relationships/customXml" Target="../ink/ink53.xml"/><Relationship Id="rId27" Type="http://schemas.openxmlformats.org/officeDocument/2006/relationships/image" Target="../media/image135.png"/><Relationship Id="rId30" Type="http://schemas.openxmlformats.org/officeDocument/2006/relationships/customXml" Target="../ink/ink57.xml"/><Relationship Id="rId35" Type="http://schemas.openxmlformats.org/officeDocument/2006/relationships/image" Target="../media/image139.png"/><Relationship Id="rId8" Type="http://schemas.openxmlformats.org/officeDocument/2006/relationships/customXml" Target="../ink/ink46.xml"/><Relationship Id="rId3" Type="http://schemas.openxmlformats.org/officeDocument/2006/relationships/image" Target="../media/image123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5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7" Type="http://schemas.openxmlformats.org/officeDocument/2006/relationships/image" Target="../media/image159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63.xml"/><Relationship Id="rId5" Type="http://schemas.openxmlformats.org/officeDocument/2006/relationships/image" Target="../media/image158.png"/><Relationship Id="rId4" Type="http://schemas.openxmlformats.org/officeDocument/2006/relationships/customXml" Target="../ink/ink6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통계적 시각화 도구</a:t>
            </a:r>
            <a:endParaRPr lang="en-US" altLang="ko-KR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00000"/>
              </a:lnSpc>
            </a:pP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상관관계분석</a:t>
            </a:r>
            <a:endParaRPr lang="en-US" altLang="ko-KR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3C55932-844D-1CD4-54C1-7A4E452748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FEA8F7D2-1C11-B9C1-C0EB-A3D93EDD8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ko-KR" altLang="en-US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877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9339FD-CED9-0B7E-9399-DBA6212E59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FEEF568-2D97-1862-5163-3845BBF3B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9699277-C9B1-2D01-5E69-924EC1432BA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361838F-4D41-1CF6-A8FE-5B8D386EB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414" y="316372"/>
            <a:ext cx="9469171" cy="471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4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6C4B5-F641-9951-3816-024EE4D9B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5934C0E-CB8E-775D-FA06-5725789D5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EF9886-B2CD-33FD-5A7E-12889004A9A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867C21B-D6CC-CA9B-CDB6-61E5FF064B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783" y="362092"/>
            <a:ext cx="8840434" cy="332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7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AF775C-C728-BFAF-48C6-DA8DA89409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249E72-5026-1263-4E08-5E9F5860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80DE7B-4F57-C462-4E1E-1708661DFCD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F34FAFF-2A2B-82D0-FE2D-8EDB80FC04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940" y="622267"/>
            <a:ext cx="9450119" cy="381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19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9608A2-979D-CBEA-2AFC-780B80346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EB8A2AF-A098-4A79-A99D-59CBF5FA6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A99EB4-D414-76A0-41BB-B411801CA18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6345419-6523-1A22-0298-712D4DCC9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4388" y="728947"/>
            <a:ext cx="8583223" cy="391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06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2A871E-4FE0-E476-3E55-9E9003A6E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E6AC905-8575-1213-F322-D527F069F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03226C-429A-7B85-A3BB-9C4E1FE9FA5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7FA4F76-1B28-A6CA-061B-159B1B53E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2994" y="362092"/>
            <a:ext cx="8326012" cy="428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37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5DB51-7565-B1F4-5958-5E27B4F88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B5CBF7E-0873-B0CD-CACA-8487EC979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E0D0CD2-CBE3-57DA-30A8-87B6B252F7C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89F72A8-2CAA-5A4B-C49B-C6A39A2BF6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4335" y="362092"/>
            <a:ext cx="8983329" cy="350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27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DE136B-BB0F-F5C2-D7AF-5F85BDE50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A677A81-8948-45A4-C31B-CA85E8CB9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D770041-841E-7180-1FA4-A90A022D97D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E787FDD-E243-EC2B-27D7-9B152182B6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783" y="362092"/>
            <a:ext cx="9202434" cy="4344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8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1EEF9-14D2-5B34-A1AF-3AE155935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4B8A76-E475-639C-34D2-9382671C7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D81B0EF-890A-ADA8-6065-FF127121CAA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2D36AC-1FA2-C600-28F0-4793B1B8A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4679" y="561307"/>
            <a:ext cx="6382641" cy="175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7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7C6FC-EA17-29B7-E5B3-65F4F8FF4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B71FD74-D036-258C-C9E5-7C1D70AAA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C574C37-72A4-D6AA-90B4-DD3F4019A7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F2518DC-9A8F-8788-A223-05C24C181F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4679" y="561307"/>
            <a:ext cx="6382641" cy="175284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E6EAA1C-2256-61C2-265F-9F15CC0F6A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6627" y="2636328"/>
            <a:ext cx="6058746" cy="2743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68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5C4940-41D8-016A-39DF-43C06A612E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5E22A0-5E7D-7E9B-4CE8-BA8148B98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39F3E3F-72A9-128C-F963-FE4BDF87C70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731FE78-FD99-0BEA-03FD-F96170FEC8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67" y="1514208"/>
            <a:ext cx="8345065" cy="382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00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4B43DE51-8C63-2435-B2B4-EA8C60E70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91" y="1938129"/>
            <a:ext cx="11946017" cy="298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6111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C168F-A6D0-8F84-AED2-79CF57079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B849453-8D5F-C9CA-BE18-0C289D6D8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D175F84-CA28-6648-4C70-45E117778E1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AE84688-C3DC-CC73-63C7-23EA81951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467" y="885470"/>
            <a:ext cx="9431066" cy="508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7A82D4-58BC-D966-9DFD-16A70F38E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20A5B3F-8897-DA3E-D821-CC18DF596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49C6B09-EFD7-FF3A-B4EF-47E462C129D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1470CEE-5466-FF6C-DABD-5A42B9D141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2152" y="623439"/>
            <a:ext cx="7487695" cy="438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4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4A3BB3-F1BF-4676-7F79-44A43A8C1B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12E70CA-6879-1321-9B28-E40F044FA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17B3D61-589A-5BC4-617D-B40C76E8FD2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4AB57C9-D3B8-8999-B5FE-36CF75A581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042548"/>
            <a:ext cx="8945223" cy="418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8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FD070D-20A5-9414-3613-BEBE5CBC2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E32467-8C87-AF0A-E014-11DEBB089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BEEDD3F-6FE3-16BA-54F7-CB8EDD523F3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8B8967E-12F8-C092-6139-0E550483BF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756" y="1504681"/>
            <a:ext cx="9040487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6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D4CE6-7A6B-67D0-E9D2-CF1D2C523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3C0169A-B26D-1CFD-E772-0E2ACD960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CB1745A-E3EE-D681-5EBD-72C97833175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1A938B-BF35-50DD-78EA-C09AF28C94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914" y="1433234"/>
            <a:ext cx="9650172" cy="399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86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5C6785-6C6B-DD4D-C00A-6895D8079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6CEA65-614C-8CF1-D11F-E6CA00EC2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89BFE0A-BAA2-B35C-BAD0-DF595A6301F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C93FBF-CA78-AA4A-8016-C996A168C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8625" y="1166497"/>
            <a:ext cx="8954750" cy="452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1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235B1-CF47-7AB6-0954-77BF00ED8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B8D58CB-FE55-2C0E-285C-40FACE70F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DBB503-29A0-6659-86E5-1F38080D2C4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E96E53B-7B6C-C85F-D8CC-C45328D27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967" y="1147444"/>
            <a:ext cx="9612066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BA73A-7D91-AD07-77B5-76182108C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549DFC-A30A-E4E2-CFE3-3F92C2E85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BB2705C-3832-0050-740B-6019CFBCF81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C280470-6BDF-F9BB-B6DD-3D900E03D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045" y="1052181"/>
            <a:ext cx="9735909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11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5627A-3484-8C5E-228F-39EF20E05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266B40-48F3-67E5-CC13-171BA8841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E1CA0F5-65CD-DC2F-192F-2F690A38CFC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AFC515D-1E05-BA38-CAE7-C50CAD7E4B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704" y="1271286"/>
            <a:ext cx="8716591" cy="431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82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C2FA1-B2DE-E190-183D-2F9FFE24F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3FA55E-6801-8940-1324-9AFF1B2AC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099266E-6B3C-1BD7-DAFC-5C3025B9413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52FCC5-2DAC-C993-6BAD-57329E4D98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7625" y="1099812"/>
            <a:ext cx="9316750" cy="465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70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BEC8A07-EC30-9F05-6067-BF39BDB203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25" y="71438"/>
            <a:ext cx="5238750" cy="671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04192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A28213-CA8A-D2F4-EB6B-6A9E41931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4A6EDF-657A-E063-544F-20E999C3F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A7E47D9-9174-A950-41FA-A29EE103DFA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E11FC67-A49C-CA21-39C1-F97FCA489D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177" y="362092"/>
            <a:ext cx="9459645" cy="419158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DB6359E-6B64-1FA6-F4D8-8AE214A8E7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3362" y="5095629"/>
            <a:ext cx="9145276" cy="176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32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BAF3B-78F4-2DE6-E52B-11970125EF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6EA155B-2CD8-BCA4-5BC4-EDBBE0A80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ECF1CAF-11EC-45B8-48EF-74F5BDE4E0B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76BB572-58C1-7C6D-9DA8-52D82917A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204" y="1447523"/>
            <a:ext cx="9259592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0EE726-6305-65BF-8AD5-12CF164E0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AA4D3F1-72A8-AA73-D4DB-FD5F858ED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3178376-E92D-9C53-2850-6F510D46131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3449381-8822-D886-E8A4-7B20A10AD8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968" y="971207"/>
            <a:ext cx="7440063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5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C9318-C7A2-1E5F-7E15-F3EE95C495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E343512-9E28-2534-184A-5F72BA663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1F7079-AB8B-88C1-48D7-846EAEA484E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1138E6A-3D78-8E1E-028B-CA2D997F77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6336" y="966444"/>
            <a:ext cx="8259328" cy="492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11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252482-115F-9E81-F964-F1986535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D010D9F-EFC1-DB4D-5465-FC55E64DB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9B30CBD-618D-294D-289D-5D9805D4534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6AC72EC-FDD5-0309-2CEB-1BF4B266C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917" y="980733"/>
            <a:ext cx="6239746" cy="4896533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F87D054-795B-01FB-F3E0-88727D1925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11932" y="904522"/>
            <a:ext cx="6658904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0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0641A-3E1C-8EA4-E17F-E4237816F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3E1107E-C58D-A6CD-DCFC-7E1AEEF45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C9175F4-0376-6088-420A-343B148352E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34CABBB-05E2-449B-B768-F6525AFC4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1652" y="1185549"/>
            <a:ext cx="7668695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51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958F7D-0E3A-1F5D-3779-9170DBEED8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241D146-5DCB-6EA8-DED1-8C63D9636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20E164-6F52-501C-5D54-76CB600A78F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DC55B21-725A-50A8-C5DA-1B5A014B34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1811" y="1085523"/>
            <a:ext cx="6468378" cy="468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7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5E2C8C-962B-5BC7-72FB-DF1F0C1EB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FCBC080-7BA3-882F-5B81-61294E6D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DE54C3D-C382-8B2E-DA0E-3EA1C7DF0CA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7ACFE6A-D141-1F8E-800F-073027DCBA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704" y="975970"/>
            <a:ext cx="8716591" cy="490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2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B3A4A6-7AA7-4498-D86D-43EB7C5AAA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B68B2E8-C100-633C-107E-4E297E947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7188E11-F94C-5308-2EB4-6977FD6EA09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344EE1B-19DA-99D0-AD38-27027470B6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4259" y="990259"/>
            <a:ext cx="5963482" cy="487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15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080E55-0946-FF4C-A2A3-703F17A1D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DBD2E8F-D76D-E1EE-DF7F-BFB819FAD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E7579BB-F5AD-3F5A-B80B-1FF6E5F8725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8D81759-0595-568E-5B1A-C34E0A4472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741" y="1808858"/>
            <a:ext cx="10176516" cy="324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54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FCE71-E911-DB06-3D43-AB9FC2DA3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1AF46AD-61C2-9CA6-15D8-18A00AB9A2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문제해결의 과정</a:t>
            </a:r>
            <a:endParaRPr lang="en-US" altLang="ko-KR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00000"/>
              </a:lnSpc>
            </a:pP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문제해결의 전략</a:t>
            </a:r>
            <a:endParaRPr lang="en-US" altLang="ko-KR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00000"/>
              </a:lnSpc>
            </a:pP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알고리즘의 필요성</a:t>
            </a:r>
            <a:endParaRPr lang="en-US" altLang="ko-KR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E654BF-D3DD-5FE3-CBC7-59439C8FE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BF50240-D693-2ED1-2529-4E8E2C16E2A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01B7651E-4EAE-89AE-82F9-CDB6BAD2B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문제해결 과정 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/ 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략 및 알고리즘 필요성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F3E6C30-AA2E-F912-8BF0-9E0F835690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9943" y="1690688"/>
            <a:ext cx="7065504" cy="3757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6F7BE-EC67-6196-DD23-9E31495E94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9C8BA43-7968-B1F1-6496-EE32D19B0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66D6A3F-3960-9AB1-F15F-A8AABB747D5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C0BFB5D-6253-BB19-6135-52E0FD4D4A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326" y="830023"/>
            <a:ext cx="11155349" cy="519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34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D24CC0-65D9-4DCC-74FB-5CB2EBDC5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B7AFAA9-69F2-E181-7BAA-36CF08DF3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C69487D-ABB4-A77C-1F39-8A5B131D2F1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1037B57-7FDC-7B24-904C-CA019906F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4918" y="362092"/>
            <a:ext cx="4582164" cy="163852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580D5BB-9207-C8FB-B9A9-8504AA00E6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2390" y="2581050"/>
            <a:ext cx="5687219" cy="3219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94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FF6A5-C841-7FCC-23B3-66009CA16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8F5E061-CEB5-DC57-84CB-7A184308C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2C3D7D4-C32A-1868-434F-198E51B9D3F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A53D264-9B56-50DF-008E-71D9411731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038" y="1427533"/>
            <a:ext cx="8521922" cy="4002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2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E652C-0A15-B920-CEF6-48A828824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D0526FA-1EB5-E79D-7220-4521666EE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ACA8687-94D9-438A-4591-399D53FBF4E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5C0FA532-C4C7-126D-45CE-9276A92CF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ko-KR" altLang="en-US" dirty="0" err="1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해커톤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 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공모전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!</a:t>
            </a:r>
            <a:endParaRPr lang="ko-KR" altLang="en-US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5898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08470-1333-2804-3C14-756B5EF58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1410023-70E4-4B2C-8595-A461F9AB6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C04334B-1A61-7EC3-EE1D-152B6F9B517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FF764E23-3250-1E63-F4F0-6095E149D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344035"/>
          </a:xfrm>
        </p:spPr>
        <p:txBody>
          <a:bodyPr/>
          <a:lstStyle/>
          <a:p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풀기 쉬운 문제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검증 하기 쉬운 문제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endParaRPr lang="ko-KR" altLang="en-US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8527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2291A-878C-6B68-74A6-4F7E8295A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C72403C-D8B5-74AB-8186-0C107855C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21975E6-A2A0-B8C6-8DB4-B68F1C86B8C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296275C4-FE23-BA2A-C2D3-6B757A3F7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344035"/>
          </a:xfrm>
        </p:spPr>
        <p:txBody>
          <a:bodyPr/>
          <a:lstStyle/>
          <a:p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어려운 문제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 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쉬운 문제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</a:t>
            </a:r>
            <a:endParaRPr lang="ko-KR" altLang="en-US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0914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551E27-AE99-4AC9-98F9-31412D64D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BA10F81-71DC-C57D-F238-BD9583516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FB629D8-0BCA-0029-AD39-1546D8A688A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579FAAB-7AF8-C202-38FE-9D7FC5FF15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9993" y="1785708"/>
            <a:ext cx="9412013" cy="328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06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0D52D-A6A0-7D66-28D4-D696D57F02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BC90D4-3C56-5002-EF21-697FEF10C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42854F5-842F-7E2B-7770-C3D7C19017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B490455-D783-09D4-F1D5-B24AF0D63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783" y="1109339"/>
            <a:ext cx="9202434" cy="463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3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533435-7BA9-4EB0-5418-FBFF911A11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39D09E0-4C55-292C-D4E3-32BB18BD9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B2336A9-12F4-D867-6CB5-94FCCB6290C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99F1BA5-EEE7-DDAF-8A9E-4B7DF43681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809" y="1661866"/>
            <a:ext cx="9364382" cy="353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4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0D14F5-D768-EA42-A449-C704B6B88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48EFF0F-949E-435B-8F6E-6DAE3255D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439B331-884E-8756-E092-AA64459529D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AE67727-8323-50D3-2230-75A0D58418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6730" y="1109339"/>
            <a:ext cx="8878539" cy="463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90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E02BB-C73B-FC44-F1AE-169FBB392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2B0A14-6709-824D-26EC-A5F5CF1E8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49DF5D3-691C-FE6A-E013-403880D8E66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EC17078-2BB3-1F2F-2E4F-150B643F3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651" y="1709497"/>
            <a:ext cx="3458058" cy="3439005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E14ACEDF-37CC-B5A0-81A0-4CE504B74F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9497" y="1728550"/>
            <a:ext cx="5096586" cy="340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76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0CF05-D005-DAC5-D56E-2D348C415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DCFF75C-C91D-010E-71D1-5FA935ECA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8DD936E-DE76-A0AD-4770-8795F2B3858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3627B08-3F13-6371-D7C6-D95C36E41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256" y="1209365"/>
            <a:ext cx="9221487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05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44494-9E91-E2B4-5CBA-95B212E9DB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677596-C027-0D87-609A-0978973B7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DB3CCB2-1F3A-4C62-51CB-003E46B374D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EB0BCB8-FC28-CBFB-B6E6-C57F6C30F7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2888" y="1328444"/>
            <a:ext cx="9126224" cy="420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56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0EB878-1A46-634C-A2DD-7C1703B8D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1B95D4B-F70B-7FE1-EB0C-DF1D191EB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9B93148-65A7-DFB9-946F-D31386BCF32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F51EBDF-462E-FB23-34C4-4EA4175A4F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6730" y="1242707"/>
            <a:ext cx="8878539" cy="437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3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CDE52-CE3E-A76B-DE8C-2702ED9BA8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6961FD9-10F3-6B12-6851-E7A5CCDF6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762C236-3473-7285-10A9-A2F7D5F7F92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15734E7-7A8B-5F0E-4F06-6F8137356C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336" y="1099812"/>
            <a:ext cx="7897327" cy="465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14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0FC367-A423-1688-7B27-B38B17F03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1876032-F41F-227C-82EF-77EE43772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46C5A34-BC4D-CBC3-E09C-80BD239174D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E3A264E-D20F-11D1-FBD8-01D150BBE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414" y="1028365"/>
            <a:ext cx="9469171" cy="480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20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B28A93-A46A-742D-54ED-59468149D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916EC4D-EC69-6899-EA34-F9096B65E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8074715-B335-377E-21CD-642A035A329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8F0D4BD-AA16-F96D-7B40-D36545D91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0993" y="1195075"/>
            <a:ext cx="9050013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4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FCE97-202A-1E4D-0552-469044D6F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E33144E-A106-DBA3-2D1E-E46A08D26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16752EE-951E-A4FA-0F44-BED2066265A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27B741E2-C84C-E3FE-7C7D-171B6883D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818505"/>
          </a:xfrm>
        </p:spPr>
        <p:txBody>
          <a:bodyPr>
            <a:normAutofit/>
          </a:bodyPr>
          <a:lstStyle/>
          <a:p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=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풀기 쉬운 문제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NP = 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검증하기 쉬운 문제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풀기 </a:t>
            </a:r>
            <a:r>
              <a:rPr lang="ko-KR" altLang="en-US" dirty="0" err="1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쉬운문제는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검증도 쉽다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. (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당연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)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검증하기 </a:t>
            </a:r>
            <a:r>
              <a:rPr lang="ko-KR" altLang="en-US" dirty="0" err="1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쉬운문제는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풀기도 쉬운가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? (</a:t>
            </a: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난제</a:t>
            </a: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)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 = NP</a:t>
            </a:r>
            <a:br>
              <a:rPr lang="en-US" altLang="ko-KR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검증하기 쉬운 문제는 풀기도 쉽다</a:t>
            </a:r>
          </a:p>
        </p:txBody>
      </p:sp>
    </p:spTree>
    <p:extLst>
      <p:ext uri="{BB962C8B-B14F-4D97-AF65-F5344CB8AC3E}">
        <p14:creationId xmlns:p14="http://schemas.microsoft.com/office/powerpoint/2010/main" val="336069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853ECC77-046E-16F7-B794-839214BBB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8102" y="0"/>
            <a:ext cx="48957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1808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8" name="Picture 10" descr="야밤의 공대생 만화 (@yagongman_official) • Instagram photos and videos">
            <a:extLst>
              <a:ext uri="{FF2B5EF4-FFF2-40B4-BE49-F238E27FC236}">
                <a16:creationId xmlns:a16="http://schemas.microsoft.com/office/drawing/2014/main" id="{CF65776B-5B3B-F784-557E-DBE0557D7F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1292" y="1792210"/>
            <a:ext cx="4370397" cy="327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0B5022C-D9EF-4B07-D84D-C2CD83968E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14500"/>
            <a:ext cx="3429000" cy="3429000"/>
          </a:xfrm>
          <a:prstGeom prst="rect">
            <a:avLst/>
          </a:prstGeom>
        </p:spPr>
      </p:pic>
      <p:pic>
        <p:nvPicPr>
          <p:cNvPr id="2056" name="Picture 8" descr="기사 - [과학]야밤의 공대생 만화 1: 트랜지스터의 탄생(feat.새연재!)">
            <a:extLst>
              <a:ext uri="{FF2B5EF4-FFF2-40B4-BE49-F238E27FC236}">
                <a16:creationId xmlns:a16="http://schemas.microsoft.com/office/drawing/2014/main" id="{8F267747-26D8-7299-1B5A-241578554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714500"/>
            <a:ext cx="457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87251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E20FD974-F078-A0F7-6B4E-FD86ACF362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5461"/>
            <a:ext cx="12192000" cy="562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79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5BF4CF-9385-16EF-3A2E-70D75DB74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B02ED4F-4039-F5FD-7F2C-E9C6064FF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3475072-DE0A-D39B-94E9-5E91076DD81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F14940E-C8E3-BC1C-2DE5-E8F645BCEB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045" y="571101"/>
            <a:ext cx="9735909" cy="285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24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09CEBE-CB93-B09A-6BF0-40214C591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8FF72EEE-801A-43F3-7AD1-6118D8268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5461"/>
            <a:ext cx="12192000" cy="562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9880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0D5C2-3BF2-6F3B-79DC-1093AC18C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07501D5-A7CD-2645-397A-F9FEEC8BB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5F3A86-5194-F0A3-A4E9-97B1EA454FF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94C4B29-3949-E83C-9FDB-11A9887DE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7230" y="1614234"/>
            <a:ext cx="8697539" cy="3629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9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BF392-402B-230C-7EEF-3F54B3197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A3EECB-D8D3-8B5C-9D90-8AE87928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78308CC-4BC2-412F-807A-EEA74409B2F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61F38C-03E0-7F4C-F82B-FE261916F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176023"/>
            <a:ext cx="9326277" cy="450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017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A0F609-9F11-7588-F29D-596D0E0A7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A33738B-5455-1356-8107-59718E134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9B60E6D-0496-7848-6A21-43429E13269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C54D862-4E33-D031-8A4F-8AEA9BD68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733" y="0"/>
            <a:ext cx="6876534" cy="6858000"/>
          </a:xfrm>
          <a:prstGeom prst="rect">
            <a:avLst/>
          </a:prstGeom>
        </p:spPr>
      </p:pic>
      <p:grpSp>
        <p:nvGrpSpPr>
          <p:cNvPr id="33" name="그룹 32">
            <a:extLst>
              <a:ext uri="{FF2B5EF4-FFF2-40B4-BE49-F238E27FC236}">
                <a16:creationId xmlns:a16="http://schemas.microsoft.com/office/drawing/2014/main" id="{6605D7A7-28D8-4200-B008-EBCFF72730FD}"/>
              </a:ext>
            </a:extLst>
          </p:cNvPr>
          <p:cNvGrpSpPr/>
          <p:nvPr/>
        </p:nvGrpSpPr>
        <p:grpSpPr>
          <a:xfrm>
            <a:off x="554901" y="2856896"/>
            <a:ext cx="2081520" cy="2173320"/>
            <a:chOff x="554901" y="2856896"/>
            <a:chExt cx="2081520" cy="2173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DFB26BDB-223F-44C1-8579-8930C22842E5}"/>
                    </a:ext>
                  </a:extLst>
                </p14:cNvPr>
                <p14:cNvContentPartPr/>
                <p14:nvPr/>
              </p14:nvContentPartPr>
              <p14:xfrm>
                <a:off x="751101" y="2897936"/>
                <a:ext cx="276480" cy="33588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DFB26BDB-223F-44C1-8579-8930C22842E5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2101" y="2889296"/>
                  <a:ext cx="294120" cy="35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B95B6C01-4323-4B9E-A119-AD7653A7747B}"/>
                    </a:ext>
                  </a:extLst>
                </p14:cNvPr>
                <p14:cNvContentPartPr/>
                <p14:nvPr/>
              </p14:nvContentPartPr>
              <p14:xfrm>
                <a:off x="1183821" y="2986856"/>
                <a:ext cx="155520" cy="3420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B95B6C01-4323-4B9E-A119-AD7653A7747B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174821" y="2977856"/>
                  <a:ext cx="17316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F17A5B71-20F5-4BE7-92BB-B22A6EAB882C}"/>
                    </a:ext>
                  </a:extLst>
                </p14:cNvPr>
                <p14:cNvContentPartPr/>
                <p14:nvPr/>
              </p14:nvContentPartPr>
              <p14:xfrm>
                <a:off x="1142781" y="3102056"/>
                <a:ext cx="296280" cy="864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F17A5B71-20F5-4BE7-92BB-B22A6EAB882C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134141" y="3093056"/>
                  <a:ext cx="31392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FEA23505-599A-4057-B914-D511CB373B81}"/>
                    </a:ext>
                  </a:extLst>
                </p14:cNvPr>
                <p14:cNvContentPartPr/>
                <p14:nvPr/>
              </p14:nvContentPartPr>
              <p14:xfrm>
                <a:off x="1697901" y="2856896"/>
                <a:ext cx="360" cy="286200"/>
              </p14:xfrm>
            </p:contentPart>
          </mc:Choice>
          <mc:Fallback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FEA23505-599A-4057-B914-D511CB373B81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688901" y="2848256"/>
                  <a:ext cx="18000" cy="30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FE40C68D-F584-4CEB-B5FA-668B146AACC3}"/>
                    </a:ext>
                  </a:extLst>
                </p14:cNvPr>
                <p14:cNvContentPartPr/>
                <p14:nvPr/>
              </p14:nvContentPartPr>
              <p14:xfrm>
                <a:off x="579381" y="3573296"/>
                <a:ext cx="213120" cy="30276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FE40C68D-F584-4CEB-B5FA-668B146AACC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70381" y="3564296"/>
                  <a:ext cx="23076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AD553888-D4D4-4036-B2E7-3B829684830A}"/>
                    </a:ext>
                  </a:extLst>
                </p14:cNvPr>
                <p14:cNvContentPartPr/>
                <p14:nvPr/>
              </p14:nvContentPartPr>
              <p14:xfrm>
                <a:off x="938661" y="3673736"/>
                <a:ext cx="171000" cy="36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AD553888-D4D4-4036-B2E7-3B829684830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30021" y="3664736"/>
                  <a:ext cx="1886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EC4896E7-B737-48AA-9824-FC9B2D1CD74F}"/>
                    </a:ext>
                  </a:extLst>
                </p14:cNvPr>
                <p14:cNvContentPartPr/>
                <p14:nvPr/>
              </p14:nvContentPartPr>
              <p14:xfrm>
                <a:off x="963141" y="3861296"/>
                <a:ext cx="176040" cy="5400"/>
              </p14:xfrm>
            </p:contentPart>
          </mc:Choice>
          <mc:Fallback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EC4896E7-B737-48AA-9824-FC9B2D1CD74F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54141" y="3852656"/>
                  <a:ext cx="193680" cy="2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5D9C573D-99E7-4AC4-9C37-7080F71CD861}"/>
                    </a:ext>
                  </a:extLst>
                </p14:cNvPr>
                <p14:cNvContentPartPr/>
                <p14:nvPr/>
              </p14:nvContentPartPr>
              <p14:xfrm>
                <a:off x="1346901" y="3477536"/>
                <a:ext cx="50760" cy="55476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5D9C573D-99E7-4AC4-9C37-7080F71CD861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337901" y="3468896"/>
                  <a:ext cx="68400" cy="57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19C46BEB-D9DA-4DE6-B84D-68CC0FBC004F}"/>
                    </a:ext>
                  </a:extLst>
                </p14:cNvPr>
                <p14:cNvContentPartPr/>
                <p14:nvPr/>
              </p14:nvContentPartPr>
              <p14:xfrm>
                <a:off x="1466061" y="3657536"/>
                <a:ext cx="199440" cy="29016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19C46BEB-D9DA-4DE6-B84D-68CC0FBC004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457421" y="3648536"/>
                  <a:ext cx="217080" cy="30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FDB7059A-5979-472A-8761-B7853E502643}"/>
                    </a:ext>
                  </a:extLst>
                </p14:cNvPr>
                <p14:cNvContentPartPr/>
                <p14:nvPr/>
              </p14:nvContentPartPr>
              <p14:xfrm>
                <a:off x="1942701" y="3382856"/>
                <a:ext cx="149760" cy="1332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FDB7059A-5979-472A-8761-B7853E50264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934061" y="3374216"/>
                  <a:ext cx="167400" cy="3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C8301ABA-A9CC-4655-ADAB-A378717B96EC}"/>
                    </a:ext>
                  </a:extLst>
                </p14:cNvPr>
                <p14:cNvContentPartPr/>
                <p14:nvPr/>
              </p14:nvContentPartPr>
              <p14:xfrm>
                <a:off x="2048901" y="3379616"/>
                <a:ext cx="360" cy="19548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C8301ABA-A9CC-4655-ADAB-A378717B96EC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039901" y="3370976"/>
                  <a:ext cx="18000" cy="21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FE136753-4EC8-43C2-A8C6-257F05C35027}"/>
                    </a:ext>
                  </a:extLst>
                </p14:cNvPr>
                <p14:cNvContentPartPr/>
                <p14:nvPr/>
              </p14:nvContentPartPr>
              <p14:xfrm>
                <a:off x="1835061" y="3239936"/>
                <a:ext cx="312840" cy="42732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FE136753-4EC8-43C2-A8C6-257F05C35027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826061" y="3231296"/>
                  <a:ext cx="330480" cy="44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F6BAF5F4-5D3E-4E00-A45D-2ED2593315C2}"/>
                    </a:ext>
                  </a:extLst>
                </p14:cNvPr>
                <p14:cNvContentPartPr/>
                <p14:nvPr/>
              </p14:nvContentPartPr>
              <p14:xfrm>
                <a:off x="554901" y="4392296"/>
                <a:ext cx="352440" cy="637920"/>
              </p14:xfrm>
            </p:contentPart>
          </mc:Choice>
          <mc:Fallback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F6BAF5F4-5D3E-4E00-A45D-2ED2593315C2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546261" y="4383296"/>
                  <a:ext cx="370080" cy="65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70F7B5D3-D5AA-453A-955B-F8D294E4B50C}"/>
                    </a:ext>
                  </a:extLst>
                </p14:cNvPr>
                <p14:cNvContentPartPr/>
                <p14:nvPr/>
              </p14:nvContentPartPr>
              <p14:xfrm>
                <a:off x="1012101" y="4603616"/>
                <a:ext cx="146160" cy="17280"/>
              </p14:xfrm>
            </p:contentPart>
          </mc:Choice>
          <mc:Fallback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70F7B5D3-D5AA-453A-955B-F8D294E4B50C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03101" y="4594976"/>
                  <a:ext cx="16380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1CDFC569-41B9-4549-90AB-A77855FAA400}"/>
                    </a:ext>
                  </a:extLst>
                </p14:cNvPr>
                <p14:cNvContentPartPr/>
                <p14:nvPr/>
              </p14:nvContentPartPr>
              <p14:xfrm>
                <a:off x="1069341" y="4735016"/>
                <a:ext cx="146520" cy="360"/>
              </p14:xfrm>
            </p:contentPart>
          </mc:Choice>
          <mc:Fallback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1CDFC569-41B9-4549-90AB-A77855FAA400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60341" y="4726376"/>
                  <a:ext cx="1641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48E46B00-A048-44F7-8F33-496053599C8A}"/>
                    </a:ext>
                  </a:extLst>
                </p14:cNvPr>
                <p14:cNvContentPartPr/>
                <p14:nvPr/>
              </p14:nvContentPartPr>
              <p14:xfrm>
                <a:off x="1322061" y="4375736"/>
                <a:ext cx="62640" cy="43308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48E46B00-A048-44F7-8F33-496053599C8A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313421" y="4366736"/>
                  <a:ext cx="80280" cy="45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6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3E34B790-D020-4461-974D-5BD94A054810}"/>
                    </a:ext>
                  </a:extLst>
                </p14:cNvPr>
                <p14:cNvContentPartPr/>
                <p14:nvPr/>
              </p14:nvContentPartPr>
              <p14:xfrm>
                <a:off x="1441221" y="4449176"/>
                <a:ext cx="266400" cy="340560"/>
              </p14:xfrm>
            </p:contentPart>
          </mc:Choice>
          <mc:Fallback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3E34B790-D020-4461-974D-5BD94A054810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432221" y="4440536"/>
                  <a:ext cx="284040" cy="35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8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1542B89B-B485-4D1E-B34A-153052722E66}"/>
                    </a:ext>
                  </a:extLst>
                </p14:cNvPr>
                <p14:cNvContentPartPr/>
                <p14:nvPr/>
              </p14:nvContentPartPr>
              <p14:xfrm>
                <a:off x="1746861" y="4546016"/>
                <a:ext cx="232920" cy="33840"/>
              </p14:xfrm>
            </p:contentPart>
          </mc:Choice>
          <mc:Fallback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1542B89B-B485-4D1E-B34A-153052722E66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738221" y="4537376"/>
                  <a:ext cx="25056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0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DFC58124-E3D9-4945-AE37-34CDF5E4FB4C}"/>
                    </a:ext>
                  </a:extLst>
                </p14:cNvPr>
                <p14:cNvContentPartPr/>
                <p14:nvPr/>
              </p14:nvContentPartPr>
              <p14:xfrm>
                <a:off x="1902021" y="4343336"/>
                <a:ext cx="360" cy="378360"/>
              </p14:xfrm>
            </p:contentPart>
          </mc:Choice>
          <mc:Fallback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DFC58124-E3D9-4945-AE37-34CDF5E4FB4C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893021" y="4334336"/>
                  <a:ext cx="18000" cy="39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2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0144660A-A645-4FBD-8EA1-06BFEBDAEFB3}"/>
                    </a:ext>
                  </a:extLst>
                </p14:cNvPr>
                <p14:cNvContentPartPr/>
                <p14:nvPr/>
              </p14:nvContentPartPr>
              <p14:xfrm>
                <a:off x="2187861" y="4359536"/>
                <a:ext cx="56160" cy="401400"/>
              </p14:xfrm>
            </p:contentPart>
          </mc:Choice>
          <mc:Fallback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0144660A-A645-4FBD-8EA1-06BFEBDAEFB3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2178861" y="4350536"/>
                  <a:ext cx="73800" cy="41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2D261A8B-DC2F-4BC6-8167-3D415F431B85}"/>
                    </a:ext>
                  </a:extLst>
                </p14:cNvPr>
                <p14:cNvContentPartPr/>
                <p14:nvPr/>
              </p14:nvContentPartPr>
              <p14:xfrm>
                <a:off x="2416461" y="4170896"/>
                <a:ext cx="114120" cy="25920"/>
              </p14:xfrm>
            </p:contentPart>
          </mc:Choice>
          <mc:Fallback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2D261A8B-DC2F-4BC6-8167-3D415F431B85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2407821" y="4161896"/>
                  <a:ext cx="131760" cy="4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4E68215A-A424-44BE-901D-D5047D15DE67}"/>
                    </a:ext>
                  </a:extLst>
                </p14:cNvPr>
                <p14:cNvContentPartPr/>
                <p14:nvPr/>
              </p14:nvContentPartPr>
              <p14:xfrm>
                <a:off x="2457501" y="4141376"/>
                <a:ext cx="113400" cy="30600"/>
              </p14:xfrm>
            </p:contentPart>
          </mc:Choice>
          <mc:Fallback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4E68215A-A424-44BE-901D-D5047D15DE67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2448501" y="4132376"/>
                  <a:ext cx="13104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CF221A04-5AA7-402F-8451-728388627A54}"/>
                    </a:ext>
                  </a:extLst>
                </p14:cNvPr>
                <p14:cNvContentPartPr/>
                <p14:nvPr/>
              </p14:nvContentPartPr>
              <p14:xfrm>
                <a:off x="2514381" y="4155416"/>
                <a:ext cx="5400" cy="155520"/>
              </p14:xfrm>
            </p:contentPart>
          </mc:Choice>
          <mc:Fallback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CF221A04-5AA7-402F-8451-728388627A54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2505741" y="4146416"/>
                  <a:ext cx="23040" cy="17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A6FFD1D1-EC53-4E04-9385-7757605EB5F1}"/>
                    </a:ext>
                  </a:extLst>
                </p14:cNvPr>
                <p14:cNvContentPartPr/>
                <p14:nvPr/>
              </p14:nvContentPartPr>
              <p14:xfrm>
                <a:off x="2292261" y="3994496"/>
                <a:ext cx="344160" cy="408600"/>
              </p14:xfrm>
            </p:contentPart>
          </mc:Choice>
          <mc:Fallback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A6FFD1D1-EC53-4E04-9385-7757605EB5F1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2283261" y="3985856"/>
                  <a:ext cx="361800" cy="4262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543135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BF35B-A947-D708-3B85-8136E70B2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6A43F7-C8FB-3749-36A6-3D07F1AC3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D63F810-745F-796D-AC56-BBA186E8A99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C39BDF3-1738-374A-A3A5-0D1D370494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020" y="1295102"/>
            <a:ext cx="8487960" cy="426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99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392DA-D9EF-4179-EB2D-6C9396F98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876E37-3EB1-914F-8566-F482EF7D2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010F654-DFAC-300F-4515-A228CAC8B04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630CAE4-E6F9-2C2F-F191-5E169F949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7230" y="1242707"/>
            <a:ext cx="8697539" cy="437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58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03A1C-5F40-8523-6001-AD103BB89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25A7BF-9F40-04D5-F92D-2AF60FDC5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6151641-52ED-7E88-4BF3-0384BF5FA57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BEF6670-57FE-BC97-EC9B-161905222C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2046" y="1566602"/>
            <a:ext cx="8287907" cy="372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521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65D4E0-768E-6762-C7BB-D6F8A075E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18577-ECBB-07CB-83DB-06FA6B35E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C76F1A4-BFE1-52F5-4309-EE96B8A2A84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EBFE9D7-882F-3B44-D656-FA9A4669E5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5862" y="1418944"/>
            <a:ext cx="8240275" cy="402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766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E70A2-C71B-2A22-0897-3E5B577D4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FF068FF-FDEA-3D01-085F-E3A71B40E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06FBE8F-BDE3-A7B8-6DF2-E84CF990501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C8CCFCF-D4D6-B80C-10C6-7D9C55D00C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810" y="952154"/>
            <a:ext cx="7916380" cy="4953691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EC85031-3980-41F0-9335-C0B13C56BDCD}"/>
                  </a:ext>
                </a:extLst>
              </p14:cNvPr>
              <p14:cNvContentPartPr/>
              <p14:nvPr/>
            </p14:nvContentPartPr>
            <p14:xfrm>
              <a:off x="440061" y="2505896"/>
              <a:ext cx="49320" cy="183348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EC85031-3980-41F0-9335-C0B13C56BDC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1061" y="2497256"/>
                <a:ext cx="66960" cy="1851120"/>
              </a:xfrm>
              <a:prstGeom prst="rect">
                <a:avLst/>
              </a:prstGeom>
            </p:spPr>
          </p:pic>
        </mc:Fallback>
      </mc:AlternateContent>
      <p:grpSp>
        <p:nvGrpSpPr>
          <p:cNvPr id="27" name="그룹 26">
            <a:extLst>
              <a:ext uri="{FF2B5EF4-FFF2-40B4-BE49-F238E27FC236}">
                <a16:creationId xmlns:a16="http://schemas.microsoft.com/office/drawing/2014/main" id="{026B54D6-DD7A-4092-9A02-43500D55EBDB}"/>
              </a:ext>
            </a:extLst>
          </p:cNvPr>
          <p:cNvGrpSpPr/>
          <p:nvPr/>
        </p:nvGrpSpPr>
        <p:grpSpPr>
          <a:xfrm>
            <a:off x="73221" y="2413736"/>
            <a:ext cx="2072520" cy="2248560"/>
            <a:chOff x="73221" y="2413736"/>
            <a:chExt cx="2072520" cy="2248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2FB90E5C-4185-48FA-8DBE-ECBAC8536BF2}"/>
                    </a:ext>
                  </a:extLst>
                </p14:cNvPr>
                <p14:cNvContentPartPr/>
                <p14:nvPr/>
              </p14:nvContentPartPr>
              <p14:xfrm>
                <a:off x="489381" y="2447936"/>
                <a:ext cx="1643040" cy="171216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2FB90E5C-4185-48FA-8DBE-ECBAC8536BF2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80741" y="2439296"/>
                  <a:ext cx="1660680" cy="172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54A220A4-CF2C-441D-BFA7-A42F8F95D55B}"/>
                    </a:ext>
                  </a:extLst>
                </p14:cNvPr>
                <p14:cNvContentPartPr/>
                <p14:nvPr/>
              </p14:nvContentPartPr>
              <p14:xfrm>
                <a:off x="446901" y="2432816"/>
                <a:ext cx="94680" cy="14976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54A220A4-CF2C-441D-BFA7-A42F8F95D55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7901" y="2423816"/>
                  <a:ext cx="112320" cy="16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03345E13-4B6E-42FD-88A1-FB0B7042850D}"/>
                    </a:ext>
                  </a:extLst>
                </p14:cNvPr>
                <p14:cNvContentPartPr/>
                <p14:nvPr/>
              </p14:nvContentPartPr>
              <p14:xfrm>
                <a:off x="2056101" y="2413736"/>
                <a:ext cx="89640" cy="114480"/>
              </p14:xfrm>
            </p:contentPart>
          </mc:Choice>
          <mc:Fallback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03345E13-4B6E-42FD-88A1-FB0B7042850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047461" y="2404736"/>
                  <a:ext cx="107280" cy="13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D1D995B4-3EB4-4B96-8662-81062D3DE296}"/>
                    </a:ext>
                  </a:extLst>
                </p14:cNvPr>
                <p14:cNvContentPartPr/>
                <p14:nvPr/>
              </p14:nvContentPartPr>
              <p14:xfrm>
                <a:off x="203901" y="2669336"/>
                <a:ext cx="90000" cy="351000"/>
              </p14:xfrm>
            </p:contentPart>
          </mc:Choice>
          <mc:Fallback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D1D995B4-3EB4-4B96-8662-81062D3DE29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94901" y="2660336"/>
                  <a:ext cx="107640" cy="36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F38A33A7-957B-4E02-AF85-65FD6002CB0A}"/>
                    </a:ext>
                  </a:extLst>
                </p14:cNvPr>
                <p14:cNvContentPartPr/>
                <p14:nvPr/>
              </p14:nvContentPartPr>
              <p14:xfrm>
                <a:off x="73221" y="3191696"/>
                <a:ext cx="183960" cy="155880"/>
              </p14:xfrm>
            </p:contentPart>
          </mc:Choice>
          <mc:Fallback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F38A33A7-957B-4E02-AF85-65FD6002CB0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4581" y="3183056"/>
                  <a:ext cx="201600" cy="17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29D6FE99-4DB1-44D5-9B11-DE8C6FBE14F9}"/>
                    </a:ext>
                  </a:extLst>
                </p14:cNvPr>
                <p14:cNvContentPartPr/>
                <p14:nvPr/>
              </p14:nvContentPartPr>
              <p14:xfrm>
                <a:off x="382821" y="4041296"/>
                <a:ext cx="195480" cy="115920"/>
              </p14:xfrm>
            </p:contentPart>
          </mc:Choice>
          <mc:Fallback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29D6FE99-4DB1-44D5-9B11-DE8C6FBE14F9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374181" y="4032656"/>
                  <a:ext cx="21312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79CA8CD9-8625-416C-9773-355EA2F78E0B}"/>
                    </a:ext>
                  </a:extLst>
                </p14:cNvPr>
                <p14:cNvContentPartPr/>
                <p14:nvPr/>
              </p14:nvContentPartPr>
              <p14:xfrm>
                <a:off x="2043141" y="4058936"/>
                <a:ext cx="99000" cy="137160"/>
              </p14:xfrm>
            </p:contentPart>
          </mc:Choice>
          <mc:Fallback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79CA8CD9-8625-416C-9773-355EA2F78E0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034501" y="4050296"/>
                  <a:ext cx="116640" cy="15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BD0BF922-E2FD-4D63-95A4-FF361BD84734}"/>
                    </a:ext>
                  </a:extLst>
                </p14:cNvPr>
                <p14:cNvContentPartPr/>
                <p14:nvPr/>
              </p14:nvContentPartPr>
              <p14:xfrm>
                <a:off x="220101" y="3640976"/>
                <a:ext cx="183960" cy="441000"/>
              </p14:xfrm>
            </p:contentPart>
          </mc:Choice>
          <mc:Fallback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BD0BF922-E2FD-4D63-95A4-FF361BD8473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11461" y="3631976"/>
                  <a:ext cx="201600" cy="45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7" name="잉크 16">
                  <a:extLst>
                    <a:ext uri="{FF2B5EF4-FFF2-40B4-BE49-F238E27FC236}">
                      <a16:creationId xmlns:a16="http://schemas.microsoft.com/office/drawing/2014/main" id="{F4C7CB1F-B9F4-45F4-B974-EB2E59A9DB1C}"/>
                    </a:ext>
                  </a:extLst>
                </p14:cNvPr>
                <p14:cNvContentPartPr/>
                <p14:nvPr/>
              </p14:nvContentPartPr>
              <p14:xfrm>
                <a:off x="587301" y="4326776"/>
                <a:ext cx="529560" cy="180000"/>
              </p14:xfrm>
            </p:contentPart>
          </mc:Choice>
          <mc:Fallback>
            <p:pic>
              <p:nvPicPr>
                <p:cNvPr id="17" name="잉크 16">
                  <a:extLst>
                    <a:ext uri="{FF2B5EF4-FFF2-40B4-BE49-F238E27FC236}">
                      <a16:creationId xmlns:a16="http://schemas.microsoft.com/office/drawing/2014/main" id="{F4C7CB1F-B9F4-45F4-B974-EB2E59A9DB1C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78661" y="4317776"/>
                  <a:ext cx="54720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B5913CD3-58ED-4B78-A45C-2158ECE490A5}"/>
                    </a:ext>
                  </a:extLst>
                </p14:cNvPr>
                <p14:cNvContentPartPr/>
                <p14:nvPr/>
              </p14:nvContentPartPr>
              <p14:xfrm>
                <a:off x="1183821" y="4318496"/>
                <a:ext cx="378720" cy="343800"/>
              </p14:xfrm>
            </p:contentPart>
          </mc:Choice>
          <mc:Fallback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B5913CD3-58ED-4B78-A45C-2158ECE490A5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174821" y="4309856"/>
                  <a:ext cx="396360" cy="36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75E8888F-18C0-4327-B951-7278F63DB792}"/>
                    </a:ext>
                  </a:extLst>
                </p14:cNvPr>
                <p14:cNvContentPartPr/>
                <p14:nvPr/>
              </p14:nvContentPartPr>
              <p14:xfrm>
                <a:off x="1624461" y="4283936"/>
                <a:ext cx="454320" cy="230760"/>
              </p14:xfrm>
            </p:contentPart>
          </mc:Choice>
          <mc:Fallback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75E8888F-18C0-4327-B951-7278F63DB792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615821" y="4275296"/>
                  <a:ext cx="471960" cy="24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CF3DD581-26DB-4E46-8C7D-63D1F9CEB687}"/>
                    </a:ext>
                  </a:extLst>
                </p14:cNvPr>
                <p14:cNvContentPartPr/>
                <p14:nvPr/>
              </p14:nvContentPartPr>
              <p14:xfrm>
                <a:off x="1256181" y="3175496"/>
                <a:ext cx="105480" cy="83160"/>
              </p14:xfrm>
            </p:contentPart>
          </mc:Choice>
          <mc:Fallback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CF3DD581-26DB-4E46-8C7D-63D1F9CEB687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247541" y="3166856"/>
                  <a:ext cx="123120" cy="10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679D138C-4D40-4B58-8669-78116A2844F9}"/>
                    </a:ext>
                  </a:extLst>
                </p14:cNvPr>
                <p14:cNvContentPartPr/>
                <p14:nvPr/>
              </p14:nvContentPartPr>
              <p14:xfrm>
                <a:off x="1404141" y="2597696"/>
                <a:ext cx="549360" cy="545400"/>
              </p14:xfrm>
            </p:contentPart>
          </mc:Choice>
          <mc:Fallback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679D138C-4D40-4B58-8669-78116A2844F9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395141" y="2589056"/>
                  <a:ext cx="567000" cy="56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7D817F7E-CA14-4FC4-A5FB-C3E35F3DBB04}"/>
                    </a:ext>
                  </a:extLst>
                </p14:cNvPr>
                <p14:cNvContentPartPr/>
                <p14:nvPr/>
              </p14:nvContentPartPr>
              <p14:xfrm>
                <a:off x="1289661" y="2570696"/>
                <a:ext cx="231120" cy="240480"/>
              </p14:xfrm>
            </p:contentPart>
          </mc:Choice>
          <mc:Fallback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7D817F7E-CA14-4FC4-A5FB-C3E35F3DBB04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281021" y="2562056"/>
                  <a:ext cx="248760" cy="25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4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FFB6E7BE-97E5-4435-B637-0D83769C0EF5}"/>
                    </a:ext>
                  </a:extLst>
                </p14:cNvPr>
                <p14:cNvContentPartPr/>
                <p14:nvPr/>
              </p14:nvContentPartPr>
              <p14:xfrm>
                <a:off x="1485861" y="2658176"/>
                <a:ext cx="215280" cy="105120"/>
              </p14:xfrm>
            </p:contentPart>
          </mc:Choice>
          <mc:Fallback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FFB6E7BE-97E5-4435-B637-0D83769C0EF5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476861" y="2649536"/>
                  <a:ext cx="232920" cy="1227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308161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48428-43DF-5A6C-1F71-A60B6D328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6C6DD28-9CE8-2FA2-87A4-4F7ABD5F3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46BD119-2EB8-1E45-EAAA-4A666CE9CB2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C094D6B-B976-6246-B340-21A26FDB9E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6336" y="1909550"/>
            <a:ext cx="8259328" cy="303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467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776AA-841C-FE90-F6B8-69BBF337D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837F896-C24A-E0E3-15BB-64936C2DB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E1F4AFA-B3EC-864D-9FB7-2BC6C7BD71A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EA9D798-DD97-9948-7067-0264CF52A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4494" y="362092"/>
            <a:ext cx="7783011" cy="278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21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8D8E1F-05B7-66D8-F171-58D94ABF4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2FE06F5-8723-D1AA-14A9-03DFD1215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F98212C-23ED-034C-5E35-B08E268139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926DB7D-80B4-49A4-0167-FB32EC465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7625" y="1233181"/>
            <a:ext cx="9316750" cy="4391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20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E2CEF-E346-4BDD-384E-9EA88FF84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BBE904F-44EF-DF91-58F8-85720E7C3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BCD372-B7BF-7813-5C7E-B34C5517467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35D9DA7-CF83-A28F-748A-EA313CC8D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2547" y="1733313"/>
            <a:ext cx="8106906" cy="339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581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9B5627-4E6E-A146-9D04-8A79C720A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E0B1336-C147-6982-7622-9932C50BC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601418C-7C23-800C-EA6D-62688FEF730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3A4CAF2-E654-6DC5-5F46-5FDE94A16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5283" y="1409418"/>
            <a:ext cx="9021434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182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30E2E-5116-D582-45DE-15D76533B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1DD3D66-C871-5913-9FAD-7995A20A1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328CD13-09B8-45EC-07BA-D659DACBDA2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2E56F3F-D140-ED2F-5F07-3B88A92D6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757" y="1337970"/>
            <a:ext cx="8316486" cy="4182059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40330501-922D-404D-B5BC-4C2CDD537A92}"/>
              </a:ext>
            </a:extLst>
          </p:cNvPr>
          <p:cNvGrpSpPr/>
          <p:nvPr/>
        </p:nvGrpSpPr>
        <p:grpSpPr>
          <a:xfrm>
            <a:off x="1020021" y="2383856"/>
            <a:ext cx="123120" cy="1514520"/>
            <a:chOff x="1020021" y="2383856"/>
            <a:chExt cx="123120" cy="1514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4456F5D8-79DB-4601-BDFA-86ADCAA82F37}"/>
                    </a:ext>
                  </a:extLst>
                </p14:cNvPr>
                <p14:cNvContentPartPr/>
                <p14:nvPr/>
              </p14:nvContentPartPr>
              <p14:xfrm>
                <a:off x="1020021" y="2383856"/>
                <a:ext cx="91800" cy="7848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4456F5D8-79DB-4601-BDFA-86ADCAA82F37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11021" y="2374856"/>
                  <a:ext cx="109440" cy="9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86EE030E-7116-42BB-BFDD-FCBFDD5876D0}"/>
                    </a:ext>
                  </a:extLst>
                </p14:cNvPr>
                <p14:cNvContentPartPr/>
                <p14:nvPr/>
              </p14:nvContentPartPr>
              <p14:xfrm>
                <a:off x="1038741" y="3783536"/>
                <a:ext cx="104400" cy="11484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86EE030E-7116-42BB-BFDD-FCBFDD5876D0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30101" y="3774896"/>
                  <a:ext cx="122040" cy="13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173DBB67-A9DB-4DD5-A341-F295E64AC5AF}"/>
                    </a:ext>
                  </a:extLst>
                </p14:cNvPr>
                <p14:cNvContentPartPr/>
                <p14:nvPr/>
              </p14:nvContentPartPr>
              <p14:xfrm>
                <a:off x="1044861" y="2424176"/>
                <a:ext cx="65880" cy="1388160"/>
              </p14:xfrm>
            </p:contentPart>
          </mc:Choice>
          <mc:Fallback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173DBB67-A9DB-4DD5-A341-F295E64AC5A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36221" y="2415536"/>
                  <a:ext cx="83520" cy="14058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397143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AEF896-F166-BCD1-00CE-6DA3D291B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5943228-9D6F-6B46-1EFA-9ABD721CB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82A8D2D-4013-9FCF-04A9-834411A47F0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BA2C707-8D6C-E886-5DC7-429A488555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8784" y="2171524"/>
            <a:ext cx="7754432" cy="251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67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C85107-BE31-BBFE-BB03-8F68D226B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E774A08-0B15-32D6-B4DD-CB4E34BD3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DD9D60C-4FFB-38C3-1EB9-83847B64E07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731E71E-CFF8-87D8-23C4-744ADCF86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5915" y="1328444"/>
            <a:ext cx="7840169" cy="420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3509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A3D7D-99FA-8C1F-93AC-97958A6BC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63BFC70-708E-C07D-C4D6-D171000B0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9004A85-CAE0-55E5-DDE6-FADE65BE49B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7B14416-BD0B-E39E-4396-E668460710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8757" y="1833340"/>
            <a:ext cx="7954485" cy="319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395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52AB9-6B21-D71C-1D57-914A4C72C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AB0EE7-A8EE-C931-2E7B-C56E772DF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AA1C658-E812-1924-2E7F-0984EE15DAF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D3FC8F8-CD56-545F-72F4-44D537CD9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0099" y="1309391"/>
            <a:ext cx="8611802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8127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B99198-E8CC-5504-9311-64C43CD41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BEBFFD-1C6E-457A-1868-3BC66E462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CEB16E2-FF3E-5258-1CB4-CCF4C40D685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26D36EC-DB88-7C61-892A-562C88505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783" y="1209365"/>
            <a:ext cx="8478433" cy="443927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FC7C49FF-E7AE-4899-A94B-24FE2A666560}"/>
                  </a:ext>
                </a:extLst>
              </p14:cNvPr>
              <p14:cNvContentPartPr/>
              <p14:nvPr/>
            </p14:nvContentPartPr>
            <p14:xfrm>
              <a:off x="8049741" y="4367096"/>
              <a:ext cx="139320" cy="7308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FC7C49FF-E7AE-4899-A94B-24FE2A666560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041101" y="4358096"/>
                <a:ext cx="156960" cy="90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C70F838F-115E-4019-AF7C-2797BBCAD0B2}"/>
                  </a:ext>
                </a:extLst>
              </p14:cNvPr>
              <p14:cNvContentPartPr/>
              <p14:nvPr/>
            </p14:nvContentPartPr>
            <p14:xfrm>
              <a:off x="8065941" y="4456736"/>
              <a:ext cx="168120" cy="17280"/>
            </p14:xfrm>
          </p:contentPart>
        </mc:Choice>
        <mc:Fallback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C70F838F-115E-4019-AF7C-2797BBCAD0B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57301" y="4448096"/>
                <a:ext cx="185760" cy="34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7" name="잉크 6">
                <a:extLst>
                  <a:ext uri="{FF2B5EF4-FFF2-40B4-BE49-F238E27FC236}">
                    <a16:creationId xmlns:a16="http://schemas.microsoft.com/office/drawing/2014/main" id="{EDB22BCA-08FD-4513-86DC-C740D0B9A444}"/>
                  </a:ext>
                </a:extLst>
              </p14:cNvPr>
              <p14:cNvContentPartPr/>
              <p14:nvPr/>
            </p14:nvContentPartPr>
            <p14:xfrm>
              <a:off x="8163141" y="4457456"/>
              <a:ext cx="34200" cy="356040"/>
            </p14:xfrm>
          </p:contentPart>
        </mc:Choice>
        <mc:Fallback>
          <p:pic>
            <p:nvPicPr>
              <p:cNvPr id="7" name="잉크 6">
                <a:extLst>
                  <a:ext uri="{FF2B5EF4-FFF2-40B4-BE49-F238E27FC236}">
                    <a16:creationId xmlns:a16="http://schemas.microsoft.com/office/drawing/2014/main" id="{EDB22BCA-08FD-4513-86DC-C740D0B9A444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154501" y="4448456"/>
                <a:ext cx="51840" cy="373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8" name="잉크 7">
                <a:extLst>
                  <a:ext uri="{FF2B5EF4-FFF2-40B4-BE49-F238E27FC236}">
                    <a16:creationId xmlns:a16="http://schemas.microsoft.com/office/drawing/2014/main" id="{08522701-D5E7-4FDC-B549-6A382DFAC123}"/>
                  </a:ext>
                </a:extLst>
              </p14:cNvPr>
              <p14:cNvContentPartPr/>
              <p14:nvPr/>
            </p14:nvContentPartPr>
            <p14:xfrm>
              <a:off x="8213181" y="4457456"/>
              <a:ext cx="25560" cy="194040"/>
            </p14:xfrm>
          </p:contentPart>
        </mc:Choice>
        <mc:Fallback>
          <p:pic>
            <p:nvPicPr>
              <p:cNvPr id="8" name="잉크 7">
                <a:extLst>
                  <a:ext uri="{FF2B5EF4-FFF2-40B4-BE49-F238E27FC236}">
                    <a16:creationId xmlns:a16="http://schemas.microsoft.com/office/drawing/2014/main" id="{08522701-D5E7-4FDC-B549-6A382DFAC123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204181" y="4448456"/>
                <a:ext cx="43200" cy="21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9" name="잉크 8">
                <a:extLst>
                  <a:ext uri="{FF2B5EF4-FFF2-40B4-BE49-F238E27FC236}">
                    <a16:creationId xmlns:a16="http://schemas.microsoft.com/office/drawing/2014/main" id="{9E1123ED-D070-4546-9313-4279BA0DDD4D}"/>
                  </a:ext>
                </a:extLst>
              </p14:cNvPr>
              <p14:cNvContentPartPr/>
              <p14:nvPr/>
            </p14:nvContentPartPr>
            <p14:xfrm>
              <a:off x="8302821" y="4228496"/>
              <a:ext cx="41760" cy="109080"/>
            </p14:xfrm>
          </p:contentPart>
        </mc:Choice>
        <mc:Fallback>
          <p:pic>
            <p:nvPicPr>
              <p:cNvPr id="9" name="잉크 8">
                <a:extLst>
                  <a:ext uri="{FF2B5EF4-FFF2-40B4-BE49-F238E27FC236}">
                    <a16:creationId xmlns:a16="http://schemas.microsoft.com/office/drawing/2014/main" id="{9E1123ED-D070-4546-9313-4279BA0DDD4D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294181" y="4219856"/>
                <a:ext cx="59400" cy="12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0" name="잉크 9">
                <a:extLst>
                  <a:ext uri="{FF2B5EF4-FFF2-40B4-BE49-F238E27FC236}">
                    <a16:creationId xmlns:a16="http://schemas.microsoft.com/office/drawing/2014/main" id="{B40F9D7C-C232-4148-B65A-EFBCE367DE2A}"/>
                  </a:ext>
                </a:extLst>
              </p14:cNvPr>
              <p14:cNvContentPartPr/>
              <p14:nvPr/>
            </p14:nvContentPartPr>
            <p14:xfrm>
              <a:off x="8262141" y="4367456"/>
              <a:ext cx="187560" cy="147600"/>
            </p14:xfrm>
          </p:contentPart>
        </mc:Choice>
        <mc:Fallback>
          <p:pic>
            <p:nvPicPr>
              <p:cNvPr id="10" name="잉크 9">
                <a:extLst>
                  <a:ext uri="{FF2B5EF4-FFF2-40B4-BE49-F238E27FC236}">
                    <a16:creationId xmlns:a16="http://schemas.microsoft.com/office/drawing/2014/main" id="{B40F9D7C-C232-4148-B65A-EFBCE367DE2A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253141" y="4358816"/>
                <a:ext cx="205200" cy="165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11" name="잉크 10">
                <a:extLst>
                  <a:ext uri="{FF2B5EF4-FFF2-40B4-BE49-F238E27FC236}">
                    <a16:creationId xmlns:a16="http://schemas.microsoft.com/office/drawing/2014/main" id="{8C92F2CD-F878-4FAB-AD9C-D117728CCAEC}"/>
                  </a:ext>
                </a:extLst>
              </p14:cNvPr>
              <p14:cNvContentPartPr/>
              <p14:nvPr/>
            </p14:nvContentPartPr>
            <p14:xfrm>
              <a:off x="8400741" y="4449176"/>
              <a:ext cx="48600" cy="20880"/>
            </p14:xfrm>
          </p:contentPart>
        </mc:Choice>
        <mc:Fallback>
          <p:pic>
            <p:nvPicPr>
              <p:cNvPr id="11" name="잉크 10">
                <a:extLst>
                  <a:ext uri="{FF2B5EF4-FFF2-40B4-BE49-F238E27FC236}">
                    <a16:creationId xmlns:a16="http://schemas.microsoft.com/office/drawing/2014/main" id="{8C92F2CD-F878-4FAB-AD9C-D117728CCAEC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8392101" y="4440536"/>
                <a:ext cx="66240" cy="38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12" name="잉크 11">
                <a:extLst>
                  <a:ext uri="{FF2B5EF4-FFF2-40B4-BE49-F238E27FC236}">
                    <a16:creationId xmlns:a16="http://schemas.microsoft.com/office/drawing/2014/main" id="{0BA3C873-C0A7-407B-991F-6C80B7930D20}"/>
                  </a:ext>
                </a:extLst>
              </p14:cNvPr>
              <p14:cNvContentPartPr/>
              <p14:nvPr/>
            </p14:nvContentPartPr>
            <p14:xfrm>
              <a:off x="8506941" y="4171616"/>
              <a:ext cx="360" cy="212760"/>
            </p14:xfrm>
          </p:contentPart>
        </mc:Choice>
        <mc:Fallback>
          <p:pic>
            <p:nvPicPr>
              <p:cNvPr id="12" name="잉크 11">
                <a:extLst>
                  <a:ext uri="{FF2B5EF4-FFF2-40B4-BE49-F238E27FC236}">
                    <a16:creationId xmlns:a16="http://schemas.microsoft.com/office/drawing/2014/main" id="{0BA3C873-C0A7-407B-991F-6C80B7930D20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498301" y="4162616"/>
                <a:ext cx="18000" cy="23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">
            <p14:nvContentPartPr>
              <p14:cNvPr id="13" name="잉크 12">
                <a:extLst>
                  <a:ext uri="{FF2B5EF4-FFF2-40B4-BE49-F238E27FC236}">
                    <a16:creationId xmlns:a16="http://schemas.microsoft.com/office/drawing/2014/main" id="{B6309683-3041-452F-8E3F-DF87517A75D3}"/>
                  </a:ext>
                </a:extLst>
              </p14:cNvPr>
              <p14:cNvContentPartPr/>
              <p14:nvPr/>
            </p14:nvContentPartPr>
            <p14:xfrm>
              <a:off x="8416941" y="4587776"/>
              <a:ext cx="83880" cy="180720"/>
            </p14:xfrm>
          </p:contentPart>
        </mc:Choice>
        <mc:Fallback>
          <p:pic>
            <p:nvPicPr>
              <p:cNvPr id="13" name="잉크 12">
                <a:extLst>
                  <a:ext uri="{FF2B5EF4-FFF2-40B4-BE49-F238E27FC236}">
                    <a16:creationId xmlns:a16="http://schemas.microsoft.com/office/drawing/2014/main" id="{B6309683-3041-452F-8E3F-DF87517A75D3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8408301" y="4579136"/>
                <a:ext cx="101520" cy="198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">
            <p14:nvContentPartPr>
              <p14:cNvPr id="14" name="잉크 13">
                <a:extLst>
                  <a:ext uri="{FF2B5EF4-FFF2-40B4-BE49-F238E27FC236}">
                    <a16:creationId xmlns:a16="http://schemas.microsoft.com/office/drawing/2014/main" id="{2638360F-999B-4699-8513-461D7E783E40}"/>
                  </a:ext>
                </a:extLst>
              </p14:cNvPr>
              <p14:cNvContentPartPr/>
              <p14:nvPr/>
            </p14:nvContentPartPr>
            <p14:xfrm>
              <a:off x="8564181" y="4351256"/>
              <a:ext cx="317160" cy="287640"/>
            </p14:xfrm>
          </p:contentPart>
        </mc:Choice>
        <mc:Fallback>
          <p:pic>
            <p:nvPicPr>
              <p:cNvPr id="14" name="잉크 13">
                <a:extLst>
                  <a:ext uri="{FF2B5EF4-FFF2-40B4-BE49-F238E27FC236}">
                    <a16:creationId xmlns:a16="http://schemas.microsoft.com/office/drawing/2014/main" id="{2638360F-999B-4699-8513-461D7E783E4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555181" y="4342616"/>
                <a:ext cx="334800" cy="305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">
            <p14:nvContentPartPr>
              <p14:cNvPr id="15" name="잉크 14">
                <a:extLst>
                  <a:ext uri="{FF2B5EF4-FFF2-40B4-BE49-F238E27FC236}">
                    <a16:creationId xmlns:a16="http://schemas.microsoft.com/office/drawing/2014/main" id="{DC50FD14-2093-4F99-A07D-BBF6A567D073}"/>
                  </a:ext>
                </a:extLst>
              </p14:cNvPr>
              <p14:cNvContentPartPr/>
              <p14:nvPr/>
            </p14:nvContentPartPr>
            <p14:xfrm>
              <a:off x="8698461" y="4359536"/>
              <a:ext cx="208800" cy="291240"/>
            </p14:xfrm>
          </p:contentPart>
        </mc:Choice>
        <mc:Fallback>
          <p:pic>
            <p:nvPicPr>
              <p:cNvPr id="15" name="잉크 14">
                <a:extLst>
                  <a:ext uri="{FF2B5EF4-FFF2-40B4-BE49-F238E27FC236}">
                    <a16:creationId xmlns:a16="http://schemas.microsoft.com/office/drawing/2014/main" id="{DC50FD14-2093-4F99-A07D-BBF6A567D073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689821" y="4350536"/>
                <a:ext cx="226440" cy="308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6">
            <p14:nvContentPartPr>
              <p14:cNvPr id="16" name="잉크 15">
                <a:extLst>
                  <a:ext uri="{FF2B5EF4-FFF2-40B4-BE49-F238E27FC236}">
                    <a16:creationId xmlns:a16="http://schemas.microsoft.com/office/drawing/2014/main" id="{9115641B-6EA3-4417-92FE-2DE5A446C6BA}"/>
                  </a:ext>
                </a:extLst>
              </p14:cNvPr>
              <p14:cNvContentPartPr/>
              <p14:nvPr/>
            </p14:nvContentPartPr>
            <p14:xfrm>
              <a:off x="8611341" y="4928696"/>
              <a:ext cx="118080" cy="256680"/>
            </p14:xfrm>
          </p:contentPart>
        </mc:Choice>
        <mc:Fallback>
          <p:pic>
            <p:nvPicPr>
              <p:cNvPr id="16" name="잉크 15">
                <a:extLst>
                  <a:ext uri="{FF2B5EF4-FFF2-40B4-BE49-F238E27FC236}">
                    <a16:creationId xmlns:a16="http://schemas.microsoft.com/office/drawing/2014/main" id="{9115641B-6EA3-4417-92FE-2DE5A446C6BA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8602701" y="4920056"/>
                <a:ext cx="135720" cy="274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8">
            <p14:nvContentPartPr>
              <p14:cNvPr id="17" name="잉크 16">
                <a:extLst>
                  <a:ext uri="{FF2B5EF4-FFF2-40B4-BE49-F238E27FC236}">
                    <a16:creationId xmlns:a16="http://schemas.microsoft.com/office/drawing/2014/main" id="{ADB367F3-A271-4461-81F1-10DFC0A6019E}"/>
                  </a:ext>
                </a:extLst>
              </p14:cNvPr>
              <p14:cNvContentPartPr/>
              <p14:nvPr/>
            </p14:nvContentPartPr>
            <p14:xfrm>
              <a:off x="8768301" y="4939136"/>
              <a:ext cx="180720" cy="187920"/>
            </p14:xfrm>
          </p:contentPart>
        </mc:Choice>
        <mc:Fallback>
          <p:pic>
            <p:nvPicPr>
              <p:cNvPr id="17" name="잉크 16">
                <a:extLst>
                  <a:ext uri="{FF2B5EF4-FFF2-40B4-BE49-F238E27FC236}">
                    <a16:creationId xmlns:a16="http://schemas.microsoft.com/office/drawing/2014/main" id="{ADB367F3-A271-4461-81F1-10DFC0A6019E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8759301" y="4930496"/>
                <a:ext cx="198360" cy="205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0">
            <p14:nvContentPartPr>
              <p14:cNvPr id="18" name="잉크 17">
                <a:extLst>
                  <a:ext uri="{FF2B5EF4-FFF2-40B4-BE49-F238E27FC236}">
                    <a16:creationId xmlns:a16="http://schemas.microsoft.com/office/drawing/2014/main" id="{73E299A3-AAF2-45F8-921B-CB9DA5467E53}"/>
                  </a:ext>
                </a:extLst>
              </p14:cNvPr>
              <p14:cNvContentPartPr/>
              <p14:nvPr/>
            </p14:nvContentPartPr>
            <p14:xfrm>
              <a:off x="8822661" y="4939136"/>
              <a:ext cx="133560" cy="200880"/>
            </p14:xfrm>
          </p:contentPart>
        </mc:Choice>
        <mc:Fallback>
          <p:pic>
            <p:nvPicPr>
              <p:cNvPr id="18" name="잉크 17">
                <a:extLst>
                  <a:ext uri="{FF2B5EF4-FFF2-40B4-BE49-F238E27FC236}">
                    <a16:creationId xmlns:a16="http://schemas.microsoft.com/office/drawing/2014/main" id="{73E299A3-AAF2-45F8-921B-CB9DA5467E53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8813661" y="4930496"/>
                <a:ext cx="151200" cy="218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2">
            <p14:nvContentPartPr>
              <p14:cNvPr id="19" name="잉크 18">
                <a:extLst>
                  <a:ext uri="{FF2B5EF4-FFF2-40B4-BE49-F238E27FC236}">
                    <a16:creationId xmlns:a16="http://schemas.microsoft.com/office/drawing/2014/main" id="{F4857B34-76B6-4944-8EC4-C5D5DEDC2E0C}"/>
                  </a:ext>
                </a:extLst>
              </p14:cNvPr>
              <p14:cNvContentPartPr/>
              <p14:nvPr/>
            </p14:nvContentPartPr>
            <p14:xfrm>
              <a:off x="9029661" y="4857416"/>
              <a:ext cx="142200" cy="333000"/>
            </p14:xfrm>
          </p:contentPart>
        </mc:Choice>
        <mc:Fallback>
          <p:pic>
            <p:nvPicPr>
              <p:cNvPr id="19" name="잉크 18">
                <a:extLst>
                  <a:ext uri="{FF2B5EF4-FFF2-40B4-BE49-F238E27FC236}">
                    <a16:creationId xmlns:a16="http://schemas.microsoft.com/office/drawing/2014/main" id="{F4857B34-76B6-4944-8EC4-C5D5DEDC2E0C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9020661" y="4848416"/>
                <a:ext cx="159840" cy="350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4">
            <p14:nvContentPartPr>
              <p14:cNvPr id="20" name="잉크 19">
                <a:extLst>
                  <a:ext uri="{FF2B5EF4-FFF2-40B4-BE49-F238E27FC236}">
                    <a16:creationId xmlns:a16="http://schemas.microsoft.com/office/drawing/2014/main" id="{2341F9AA-C104-486F-BCF9-5DE9279C83EB}"/>
                  </a:ext>
                </a:extLst>
              </p14:cNvPr>
              <p14:cNvContentPartPr/>
              <p14:nvPr/>
            </p14:nvContentPartPr>
            <p14:xfrm>
              <a:off x="9315501" y="4865336"/>
              <a:ext cx="229680" cy="360"/>
            </p14:xfrm>
          </p:contentPart>
        </mc:Choice>
        <mc:Fallback>
          <p:pic>
            <p:nvPicPr>
              <p:cNvPr id="20" name="잉크 19">
                <a:extLst>
                  <a:ext uri="{FF2B5EF4-FFF2-40B4-BE49-F238E27FC236}">
                    <a16:creationId xmlns:a16="http://schemas.microsoft.com/office/drawing/2014/main" id="{2341F9AA-C104-486F-BCF9-5DE9279C83EB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9306501" y="4856696"/>
                <a:ext cx="24732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6">
            <p14:nvContentPartPr>
              <p14:cNvPr id="21" name="잉크 20">
                <a:extLst>
                  <a:ext uri="{FF2B5EF4-FFF2-40B4-BE49-F238E27FC236}">
                    <a16:creationId xmlns:a16="http://schemas.microsoft.com/office/drawing/2014/main" id="{83BA08E8-0527-40DB-83B1-9D841F5828DB}"/>
                  </a:ext>
                </a:extLst>
              </p14:cNvPr>
              <p14:cNvContentPartPr/>
              <p14:nvPr/>
            </p14:nvContentPartPr>
            <p14:xfrm>
              <a:off x="9342501" y="4865336"/>
              <a:ext cx="87840" cy="208440"/>
            </p14:xfrm>
          </p:contentPart>
        </mc:Choice>
        <mc:Fallback>
          <p:pic>
            <p:nvPicPr>
              <p:cNvPr id="21" name="잉크 20">
                <a:extLst>
                  <a:ext uri="{FF2B5EF4-FFF2-40B4-BE49-F238E27FC236}">
                    <a16:creationId xmlns:a16="http://schemas.microsoft.com/office/drawing/2014/main" id="{83BA08E8-0527-40DB-83B1-9D841F5828DB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9333501" y="4856696"/>
                <a:ext cx="105480" cy="22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8">
            <p14:nvContentPartPr>
              <p14:cNvPr id="22" name="잉크 21">
                <a:extLst>
                  <a:ext uri="{FF2B5EF4-FFF2-40B4-BE49-F238E27FC236}">
                    <a16:creationId xmlns:a16="http://schemas.microsoft.com/office/drawing/2014/main" id="{01788D02-1D05-4C57-959E-912F14763605}"/>
                  </a:ext>
                </a:extLst>
              </p14:cNvPr>
              <p14:cNvContentPartPr/>
              <p14:nvPr/>
            </p14:nvContentPartPr>
            <p14:xfrm>
              <a:off x="9470661" y="4898096"/>
              <a:ext cx="170640" cy="144360"/>
            </p14:xfrm>
          </p:contentPart>
        </mc:Choice>
        <mc:Fallback>
          <p:pic>
            <p:nvPicPr>
              <p:cNvPr id="22" name="잉크 21">
                <a:extLst>
                  <a:ext uri="{FF2B5EF4-FFF2-40B4-BE49-F238E27FC236}">
                    <a16:creationId xmlns:a16="http://schemas.microsoft.com/office/drawing/2014/main" id="{01788D02-1D05-4C57-959E-912F14763605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9461661" y="4889456"/>
                <a:ext cx="188280" cy="16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47748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208E0-4C0F-CA9D-D451-99C6FC68E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02EAD1B-9A16-E76F-B4BE-4297E5464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B8601E2-3722-727A-E14C-CE929C5DEC6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9D512A6-4067-B1ED-4BBD-1A62F13CA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9416" y="1885734"/>
            <a:ext cx="6573167" cy="308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841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F1E19A-6BAF-8DEF-69CB-F63DF7672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437FD9A-9B85-BE1D-A3C9-7E8BD395F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555F327-B526-CFDB-CB08-09207A67621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38682E23-8E3B-1E1B-CF39-18B4A8AE3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1482" y="2201620"/>
            <a:ext cx="9289035" cy="245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8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3E0E0-3140-644C-1B01-2E849EBA6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8925B0A-54E6-6054-EA1C-D75558FE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11B7DE4-6BEC-B06F-021B-1F6E08CD5B9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6E2C753-431B-487A-AA04-7EAFA999B4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336" y="1599944"/>
            <a:ext cx="8621328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888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E985A-FFEC-BB48-15A5-EF1BA8544B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639CA86-ED88-F6C5-4C79-BB794F9A1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4EFC745-BAAD-F055-36BD-D954915781E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09B36CE-1AC3-2BB5-2ED6-270836A640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62" y="1233181"/>
            <a:ext cx="8602275" cy="4391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86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6513B9-D79D-3E50-8F60-88CC78162E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D994E38-ABB7-2B68-C845-4CBACB149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135C031-502C-99BD-010A-03B8436AE91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E6C0BFF-307B-972F-0BA3-C223337F4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809" y="2428735"/>
            <a:ext cx="8640381" cy="200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6001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FF284-E5B6-B865-3109-852800779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CDB9F01-DAE5-BE36-74BE-FEBD0E709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B2223D4-4C75-D60F-61A6-5BBFAACEFB7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3EBF700-59F9-87ED-02EF-E7E036E4F2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0205" y="1228418"/>
            <a:ext cx="7811590" cy="440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55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4BE15D-4944-073A-9195-424D719729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73E5803-F14F-DA70-2B21-C8B282E33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742D69-D175-2AF6-5158-DAE079BE8E8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7FFDF1B-5E6E-AEF4-90C6-FB09DB9AF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5206" y="2266788"/>
            <a:ext cx="6001588" cy="232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369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8B0E-296B-1D4E-6B5D-32C0305F6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5B139DC-8298-6E2C-62D6-228E3D586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F5DCB06-F836-80F2-8592-C55312C1856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FCC42FD-1799-4321-C730-5FAA4C38C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020" y="1376076"/>
            <a:ext cx="8125959" cy="410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107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7A08BD-140E-788A-BF6C-069EF9493D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4B8FC2-8FD0-1904-1FAD-AE93CCD75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8F110CB-DC66-45E7-F828-F27AB3EA20A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CBB7C5E-A3C1-4347-3745-8248EBD616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2099" y="1147444"/>
            <a:ext cx="788780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1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60FF1C-5326-8E22-5BD9-6F623DA18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E9C10D6-9F6A-AF21-2F59-39C3648A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9D65055-E59E-C9F4-46BB-3BA72B71C1B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E83A64B-9288-8A18-6A32-9B376663E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5942" y="1352260"/>
            <a:ext cx="7640116" cy="415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3544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FCAF2-7CAC-E923-D5C1-D1B747F50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59DE463-46D2-8827-85E8-428DF0B15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D19AF78-302E-E8D5-8564-26FD2EEE7A43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4748B8A-8E1C-9937-4999-74CC145AC8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1784" y="2038156"/>
            <a:ext cx="6668431" cy="278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00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83496D-92C4-19EC-223F-D4C45310F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549974-CCFE-D8CE-6625-9476798D7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9717A6F-882C-AABE-185D-0487D84F775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550CF51-5EF9-D8A2-4A3B-8490039756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6889" y="1609471"/>
            <a:ext cx="7678222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568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7C3AB-15B6-6301-C715-C24EDAC760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A766725-093A-3287-B065-7388E4F9D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59C4287-10F3-0AA0-A2D8-C33C255250D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71C2755-A75D-2BBE-3F63-F9B7F1CDB9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6048" y="362092"/>
            <a:ext cx="6719904" cy="2945712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C2B122B-B884-D8CA-1304-46A842F5D6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8389" y="3755602"/>
            <a:ext cx="7135221" cy="21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81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83"/>
    </mc:Choice>
    <mc:Fallback xmlns="">
      <p:transition spd="slow" advTm="26483"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06A350-ACBC-0239-40C8-4EBAC9156D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2F394A-DD0F-DE96-BBF5-7DCFD46A9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2C551D-D0A3-C594-4DDB-A47E76409E3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9D9C1DF-AF59-06CF-8302-9D9006A87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783" y="1576129"/>
            <a:ext cx="8840434" cy="370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96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3635BD-7545-93B5-3883-A03FDC450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C3B2FEE-CAB5-492C-257C-F5CCC8B3B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F91D985-D35C-59DA-F915-B527DCE302E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0E7575B-1FE5-B9FC-EB00-4A60FD296C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9" y="2484373"/>
            <a:ext cx="4387122" cy="1889252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5A0811E-569D-42EB-9571-95DFB119C0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7073" y="1888435"/>
            <a:ext cx="7557008" cy="3081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787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7167B-2FF8-D9FE-B183-ECB389939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1FF3509-5D08-B940-2AFA-64151CF22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E380E59-A770-9E51-C69C-E735D15691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64B5702-4BBC-B815-3087-C5903653C3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9705" y="1457050"/>
            <a:ext cx="7992590" cy="394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196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7CC58-EF4C-238E-49A4-FD28822318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283634-BA70-CA0B-72DF-F6EF51C01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26AD38D-0151-2BAA-68A2-C685FD3715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2C4E6C8-31C4-A3A4-EA0C-4C84413101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4468" y="1437997"/>
            <a:ext cx="7983064" cy="3982006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AD9FC2D8-6128-4484-81E9-A33AB93FBFA0}"/>
              </a:ext>
            </a:extLst>
          </p:cNvPr>
          <p:cNvGrpSpPr/>
          <p:nvPr/>
        </p:nvGrpSpPr>
        <p:grpSpPr>
          <a:xfrm>
            <a:off x="2146821" y="1182536"/>
            <a:ext cx="3894480" cy="1097640"/>
            <a:chOff x="2146821" y="1182536"/>
            <a:chExt cx="3894480" cy="1097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E932576F-1273-4A63-BAFE-E8B19329CD05}"/>
                    </a:ext>
                  </a:extLst>
                </p14:cNvPr>
                <p14:cNvContentPartPr/>
                <p14:nvPr/>
              </p14:nvContentPartPr>
              <p14:xfrm>
                <a:off x="2146821" y="1182536"/>
                <a:ext cx="3152160" cy="1097640"/>
              </p14:xfrm>
            </p:contentPart>
          </mc:Choice>
          <mc:Fallback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E932576F-1273-4A63-BAFE-E8B19329CD05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2137821" y="1173536"/>
                  <a:ext cx="3169800" cy="111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D58E1745-A68F-4579-9D5E-E8056A585E1E}"/>
                    </a:ext>
                  </a:extLst>
                </p14:cNvPr>
                <p14:cNvContentPartPr/>
                <p14:nvPr/>
              </p14:nvContentPartPr>
              <p14:xfrm>
                <a:off x="4163541" y="1191536"/>
                <a:ext cx="1877760" cy="614160"/>
              </p14:xfrm>
            </p:contentPart>
          </mc:Choice>
          <mc:Fallback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D58E1745-A68F-4579-9D5E-E8056A585E1E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154541" y="1182896"/>
                  <a:ext cx="1895400" cy="6318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927282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4314D-12A1-4244-1160-5F3093C663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6F02177-4D70-5B2B-9D70-7D0D3CF6B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FBE369E-0EA2-A866-79B8-4B65639338C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6963C6B-62F9-0820-0786-DE8D34C14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1099" y="1347497"/>
            <a:ext cx="8249801" cy="416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278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90D8B-F2BC-DA05-A66C-70CB50426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5530F77-FD77-9795-C7FF-8CE8D466F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E6F4725-5535-C830-AF57-2832FB6017F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8716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E30263-A63A-06F7-5516-72A857260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5E3BC8-115F-713D-08D4-D39A5ACEB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A66204A-564C-7AF2-EA1C-E60939256E1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3000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69</TotalTime>
  <Words>531</Words>
  <Application>Microsoft Office PowerPoint</Application>
  <PresentationFormat>와이드스크린</PresentationFormat>
  <Paragraphs>280</Paragraphs>
  <Slides>96</Slides>
  <Notes>90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6</vt:i4>
      </vt:variant>
    </vt:vector>
  </HeadingPairs>
  <TitlesOfParts>
    <vt:vector size="100" baseType="lpstr">
      <vt:lpstr>Arial</vt:lpstr>
      <vt:lpstr>나눔스퀘어 ExtraBold</vt:lpstr>
      <vt:lpstr>맑은 고딕</vt:lpstr>
      <vt:lpstr>Office 테마</vt:lpstr>
      <vt:lpstr>PowerPoint 프레젠테이션</vt:lpstr>
      <vt:lpstr>PowerPoint 프레젠테이션</vt:lpstr>
      <vt:lpstr>PowerPoint 프레젠테이션</vt:lpstr>
      <vt:lpstr>문제해결 과정 / 전략 및 알고리즘 필요성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해커톤? 공모전!</vt:lpstr>
      <vt:lpstr>풀기 쉬운 문제? 검증 하기 쉬운 문제?  </vt:lpstr>
      <vt:lpstr>어려운 문제?  쉬운 문제?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 = 풀기 쉬운 문제 NP = 검증하기 쉬운 문제  풀기 쉬운문제는 검증도 쉽다. (당연) 검증하기 쉬운문제는 풀기도 쉬운가? (난제)  P = NP 검증하기 쉬운 문제는 풀기도 쉽다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Registered User</dc:creator>
  <cp:lastModifiedBy>109-1</cp:lastModifiedBy>
  <cp:revision>200</cp:revision>
  <cp:lastPrinted>2019-09-22T23:57:17Z</cp:lastPrinted>
  <dcterms:created xsi:type="dcterms:W3CDTF">2019-09-22T16:47:45Z</dcterms:created>
  <dcterms:modified xsi:type="dcterms:W3CDTF">2024-11-21T05:4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Administrator\Desktop\19.09.23 이재용교수님 총장발표\류석총장발표_수정.pptx</vt:lpwstr>
  </property>
</Properties>
</file>